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"/>
  <Default Extension="xlsb" ContentType="application/vnd.ms-excel.sheet.binary.macroEnabled.12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notesSlides/notesSlide6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notesMasterIdLst>
    <p:notesMasterId r:id="rId33"/>
  </p:notesMasterIdLst>
  <p:sldIdLst>
    <p:sldId id="264" r:id="rId5"/>
    <p:sldId id="1132" r:id="rId6"/>
    <p:sldId id="1958" r:id="rId7"/>
    <p:sldId id="302" r:id="rId8"/>
    <p:sldId id="1966" r:id="rId9"/>
    <p:sldId id="1969" r:id="rId10"/>
    <p:sldId id="303" r:id="rId11"/>
    <p:sldId id="304" r:id="rId12"/>
    <p:sldId id="305" r:id="rId13"/>
    <p:sldId id="1973" r:id="rId14"/>
    <p:sldId id="308" r:id="rId15"/>
    <p:sldId id="307" r:id="rId16"/>
    <p:sldId id="1974" r:id="rId17"/>
    <p:sldId id="1967" r:id="rId18"/>
    <p:sldId id="295" r:id="rId19"/>
    <p:sldId id="296" r:id="rId20"/>
    <p:sldId id="1968" r:id="rId21"/>
    <p:sldId id="297" r:id="rId22"/>
    <p:sldId id="1975" r:id="rId23"/>
    <p:sldId id="301" r:id="rId24"/>
    <p:sldId id="1970" r:id="rId25"/>
    <p:sldId id="298" r:id="rId26"/>
    <p:sldId id="300" r:id="rId27"/>
    <p:sldId id="1976" r:id="rId28"/>
    <p:sldId id="1971" r:id="rId29"/>
    <p:sldId id="1972" r:id="rId30"/>
    <p:sldId id="1962" r:id="rId31"/>
    <p:sldId id="1963" r:id="rId32"/>
  </p:sldIdLst>
  <p:sldSz cx="12192000" cy="6858000"/>
  <p:notesSz cx="7010400" cy="9296400"/>
  <p:custDataLst>
    <p:tags r:id="rId3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EDAE156-6A94-9205-EE7C-E046E335D1EB}" name="Nadkarni, Nikhil" initials="NN" userId="S::nnadkarni@Cambridgema.gov::8cb4e2ce-db3a-48d0-bf6f-d5eb8967a6f9" providerId="AD"/>
  <p188:author id="{90EA6BB1-1735-C5BB-99AC-EAA57B7C2576}" name="Nadkarni, Nikhil" initials="NN" userId="S::nnadkarni@cambridgema.gov::8cb4e2ce-db3a-48d0-bf6f-d5eb8967a6f9" providerId="AD"/>
  <p188:author id="{AE6035DD-83A2-B4BB-C541-65A95A66ECFF}" name="Rasmussen, Susanne" initials="RS" userId="S::srasmussen@cambridgema.gov::0bd74171-9339-45ee-b4ef-ce827adfd046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88DFB90C-D7CF-431B-BB11-BAADD8A3843D}" v="21" dt="2023-07-13T21:20:04.03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86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>
      <p:cViewPr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microsoft.com/office/2016/11/relationships/changesInfo" Target="changesInfos/changesInfo1.xml"/><Relationship Id="rId21" Type="http://schemas.openxmlformats.org/officeDocument/2006/relationships/slide" Target="slides/slide17.xml"/><Relationship Id="rId34" Type="http://schemas.openxmlformats.org/officeDocument/2006/relationships/tags" Target="tags/tag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microsoft.com/office/2018/10/relationships/authors" Target="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40" Type="http://schemas.microsoft.com/office/2015/10/relationships/revisionInfo" Target="revisionInfo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a, Crystal" userId="fb74c9b1-33bd-4af2-8565-ea2bdc65fe6b" providerId="ADAL" clId="{88DFB90C-D7CF-431B-BB11-BAADD8A3843D}"/>
    <pc:docChg chg="modSld">
      <pc:chgData name="Rosa, Crystal" userId="fb74c9b1-33bd-4af2-8565-ea2bdc65fe6b" providerId="ADAL" clId="{88DFB90C-D7CF-431B-BB11-BAADD8A3843D}" dt="2023-07-13T21:21:21.435" v="38" actId="404"/>
      <pc:docMkLst>
        <pc:docMk/>
      </pc:docMkLst>
      <pc:sldChg chg="modSp mod">
        <pc:chgData name="Rosa, Crystal" userId="fb74c9b1-33bd-4af2-8565-ea2bdc65fe6b" providerId="ADAL" clId="{88DFB90C-D7CF-431B-BB11-BAADD8A3843D}" dt="2023-07-13T21:20:35.607" v="26" actId="14100"/>
        <pc:sldMkLst>
          <pc:docMk/>
          <pc:sldMk cId="443159585" sldId="295"/>
        </pc:sldMkLst>
        <pc:spChg chg="mod">
          <ac:chgData name="Rosa, Crystal" userId="fb74c9b1-33bd-4af2-8565-ea2bdc65fe6b" providerId="ADAL" clId="{88DFB90C-D7CF-431B-BB11-BAADD8A3843D}" dt="2023-07-13T21:20:35.607" v="26" actId="14100"/>
          <ac:spMkLst>
            <pc:docMk/>
            <pc:sldMk cId="443159585" sldId="295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88DFB90C-D7CF-431B-BB11-BAADD8A3843D}" dt="2023-07-13T21:20:47.635" v="28" actId="404"/>
        <pc:sldMkLst>
          <pc:docMk/>
          <pc:sldMk cId="2346477064" sldId="296"/>
        </pc:sldMkLst>
        <pc:spChg chg="mod">
          <ac:chgData name="Rosa, Crystal" userId="fb74c9b1-33bd-4af2-8565-ea2bdc65fe6b" providerId="ADAL" clId="{88DFB90C-D7CF-431B-BB11-BAADD8A3843D}" dt="2023-07-13T21:20:47.635" v="28" actId="404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Rosa, Crystal" userId="fb74c9b1-33bd-4af2-8565-ea2bdc65fe6b" providerId="ADAL" clId="{88DFB90C-D7CF-431B-BB11-BAADD8A3843D}" dt="2023-07-13T21:20:41.084" v="27" actId="404"/>
          <ac:spMkLst>
            <pc:docMk/>
            <pc:sldMk cId="2346477064" sldId="296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88DFB90C-D7CF-431B-BB11-BAADD8A3843D}" dt="2023-07-13T21:21:12.159" v="36" actId="1076"/>
        <pc:sldMkLst>
          <pc:docMk/>
          <pc:sldMk cId="3259736002" sldId="297"/>
        </pc:sldMkLst>
        <pc:spChg chg="mod">
          <ac:chgData name="Rosa, Crystal" userId="fb74c9b1-33bd-4af2-8565-ea2bdc65fe6b" providerId="ADAL" clId="{88DFB90C-D7CF-431B-BB11-BAADD8A3843D}" dt="2023-07-13T21:21:12.159" v="36" actId="1076"/>
          <ac:spMkLst>
            <pc:docMk/>
            <pc:sldMk cId="3259736002" sldId="297"/>
            <ac:spMk id="2" creationId="{71ECDFDF-B56B-4C43-BBBF-D35CEE5E475F}"/>
          </ac:spMkLst>
        </pc:spChg>
        <pc:spChg chg="mod">
          <ac:chgData name="Rosa, Crystal" userId="fb74c9b1-33bd-4af2-8565-ea2bdc65fe6b" providerId="ADAL" clId="{88DFB90C-D7CF-431B-BB11-BAADD8A3843D}" dt="2023-07-13T21:21:04.311" v="34" actId="20577"/>
          <ac:spMkLst>
            <pc:docMk/>
            <pc:sldMk cId="3259736002" sldId="297"/>
            <ac:spMk id="3" creationId="{06AC962A-FABE-4F14-91E7-A91AD417ADFF}"/>
          </ac:spMkLst>
        </pc:spChg>
      </pc:sldChg>
      <pc:sldChg chg="addSp modSp">
        <pc:chgData name="Rosa, Crystal" userId="fb74c9b1-33bd-4af2-8565-ea2bdc65fe6b" providerId="ADAL" clId="{88DFB90C-D7CF-431B-BB11-BAADD8A3843D}" dt="2023-07-13T21:20:04.034" v="22" actId="1036"/>
        <pc:sldMkLst>
          <pc:docMk/>
          <pc:sldMk cId="1650613911" sldId="303"/>
        </pc:sldMkLst>
        <pc:spChg chg="mod">
          <ac:chgData name="Rosa, Crystal" userId="fb74c9b1-33bd-4af2-8565-ea2bdc65fe6b" providerId="ADAL" clId="{88DFB90C-D7CF-431B-BB11-BAADD8A3843D}" dt="2023-07-13T21:20:04.034" v="22" actId="1036"/>
          <ac:spMkLst>
            <pc:docMk/>
            <pc:sldMk cId="1650613911" sldId="303"/>
            <ac:spMk id="4" creationId="{39CAB15A-E557-E834-FDBF-E6E97286C4B5}"/>
          </ac:spMkLst>
        </pc:spChg>
        <pc:graphicFrameChg chg="add mod">
          <ac:chgData name="Rosa, Crystal" userId="fb74c9b1-33bd-4af2-8565-ea2bdc65fe6b" providerId="ADAL" clId="{88DFB90C-D7CF-431B-BB11-BAADD8A3843D}" dt="2023-07-13T21:19:54.033" v="2"/>
          <ac:graphicFrameMkLst>
            <pc:docMk/>
            <pc:sldMk cId="1650613911" sldId="303"/>
            <ac:graphicFrameMk id="7" creationId="{74F0EC28-CD9B-A93F-0EF5-FB89119FE16E}"/>
          </ac:graphicFrameMkLst>
        </pc:graphicFrameChg>
      </pc:sldChg>
      <pc:sldChg chg="modSp mod">
        <pc:chgData name="Rosa, Crystal" userId="fb74c9b1-33bd-4af2-8565-ea2bdc65fe6b" providerId="ADAL" clId="{88DFB90C-D7CF-431B-BB11-BAADD8A3843D}" dt="2023-07-13T21:20:23.286" v="25" actId="14100"/>
        <pc:sldMkLst>
          <pc:docMk/>
          <pc:sldMk cId="2338493111" sldId="308"/>
        </pc:sldMkLst>
        <pc:spChg chg="mod">
          <ac:chgData name="Rosa, Crystal" userId="fb74c9b1-33bd-4af2-8565-ea2bdc65fe6b" providerId="ADAL" clId="{88DFB90C-D7CF-431B-BB11-BAADD8A3843D}" dt="2023-07-13T21:20:23.286" v="25" actId="14100"/>
          <ac:spMkLst>
            <pc:docMk/>
            <pc:sldMk cId="2338493111" sldId="308"/>
            <ac:spMk id="3" creationId="{06AC962A-FABE-4F14-91E7-A91AD417ADFF}"/>
          </ac:spMkLst>
        </pc:spChg>
      </pc:sldChg>
      <pc:sldChg chg="modSp mod">
        <pc:chgData name="Rosa, Crystal" userId="fb74c9b1-33bd-4af2-8565-ea2bdc65fe6b" providerId="ADAL" clId="{88DFB90C-D7CF-431B-BB11-BAADD8A3843D}" dt="2023-07-13T21:19:32.416" v="0" actId="14100"/>
        <pc:sldMkLst>
          <pc:docMk/>
          <pc:sldMk cId="3474700355" sldId="1958"/>
        </pc:sldMkLst>
        <pc:spChg chg="mod">
          <ac:chgData name="Rosa, Crystal" userId="fb74c9b1-33bd-4af2-8565-ea2bdc65fe6b" providerId="ADAL" clId="{88DFB90C-D7CF-431B-BB11-BAADD8A3843D}" dt="2023-07-13T21:19:32.416" v="0" actId="14100"/>
          <ac:spMkLst>
            <pc:docMk/>
            <pc:sldMk cId="3474700355" sldId="1958"/>
            <ac:spMk id="15" creationId="{133C9064-36E8-9E93-C896-7069C24EFB28}"/>
          </ac:spMkLst>
        </pc:spChg>
      </pc:sldChg>
      <pc:sldChg chg="modSp mod">
        <pc:chgData name="Rosa, Crystal" userId="fb74c9b1-33bd-4af2-8565-ea2bdc65fe6b" providerId="ADAL" clId="{88DFB90C-D7CF-431B-BB11-BAADD8A3843D}" dt="2023-07-13T21:19:43.508" v="1" actId="404"/>
        <pc:sldMkLst>
          <pc:docMk/>
          <pc:sldMk cId="1389041451" sldId="1969"/>
        </pc:sldMkLst>
        <pc:spChg chg="mod">
          <ac:chgData name="Rosa, Crystal" userId="fb74c9b1-33bd-4af2-8565-ea2bdc65fe6b" providerId="ADAL" clId="{88DFB90C-D7CF-431B-BB11-BAADD8A3843D}" dt="2023-07-13T21:19:43.508" v="1" actId="404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osa, Crystal" userId="fb74c9b1-33bd-4af2-8565-ea2bdc65fe6b" providerId="ADAL" clId="{88DFB90C-D7CF-431B-BB11-BAADD8A3843D}" dt="2023-07-13T21:21:21.435" v="38" actId="404"/>
        <pc:sldMkLst>
          <pc:docMk/>
          <pc:sldMk cId="2184168918" sldId="1975"/>
        </pc:sldMkLst>
        <pc:spChg chg="mod">
          <ac:chgData name="Rosa, Crystal" userId="fb74c9b1-33bd-4af2-8565-ea2bdc65fe6b" providerId="ADAL" clId="{88DFB90C-D7CF-431B-BB11-BAADD8A3843D}" dt="2023-07-13T21:21:21.435" v="38" actId="404"/>
          <ac:spMkLst>
            <pc:docMk/>
            <pc:sldMk cId="2184168918" sldId="1975"/>
            <ac:spMk id="3" creationId="{06AC962A-FABE-4F14-91E7-A91AD417ADFF}"/>
          </ac:spMkLst>
        </pc:spChg>
      </pc:sldChg>
    </pc:docChg>
  </pc:docChgLst>
  <pc:docChgLst>
    <pc:chgData name="Rosa, Crystal" userId="fb74c9b1-33bd-4af2-8565-ea2bdc65fe6b" providerId="ADAL" clId="{5F6D2B90-59AC-4312-A305-A6973559A963}"/>
    <pc:docChg chg="modSld">
      <pc:chgData name="Rosa, Crystal" userId="fb74c9b1-33bd-4af2-8565-ea2bdc65fe6b" providerId="ADAL" clId="{5F6D2B90-59AC-4312-A305-A6973559A963}" dt="2023-07-11T00:14:12.204" v="27" actId="13244"/>
      <pc:docMkLst>
        <pc:docMk/>
      </pc:docMkLst>
      <pc:sldChg chg="modSp mod">
        <pc:chgData name="Rosa, Crystal" userId="fb74c9b1-33bd-4af2-8565-ea2bdc65fe6b" providerId="ADAL" clId="{5F6D2B90-59AC-4312-A305-A6973559A963}" dt="2023-07-11T00:10:41.531" v="15" actId="13244"/>
        <pc:sldMkLst>
          <pc:docMk/>
          <pc:sldMk cId="1323482831" sldId="264"/>
        </pc:sldMkLst>
        <pc:spChg chg="ord">
          <ac:chgData name="Rosa, Crystal" userId="fb74c9b1-33bd-4af2-8565-ea2bdc65fe6b" providerId="ADAL" clId="{5F6D2B90-59AC-4312-A305-A6973559A963}" dt="2023-07-11T00:08:21.709" v="3" actId="13244"/>
          <ac:spMkLst>
            <pc:docMk/>
            <pc:sldMk cId="1323482831" sldId="264"/>
            <ac:spMk id="2" creationId="{75B90E77-7E96-13CD-A0C5-93F1CBBC75ED}"/>
          </ac:spMkLst>
        </pc:spChg>
        <pc:spChg chg="ord">
          <ac:chgData name="Rosa, Crystal" userId="fb74c9b1-33bd-4af2-8565-ea2bdc65fe6b" providerId="ADAL" clId="{5F6D2B90-59AC-4312-A305-A6973559A963}" dt="2023-07-11T00:10:41.531" v="15" actId="13244"/>
          <ac:spMkLst>
            <pc:docMk/>
            <pc:sldMk cId="1323482831" sldId="264"/>
            <ac:spMk id="5" creationId="{27CC345D-F1D6-4C2C-A33C-0C48F59A7642}"/>
          </ac:spMkLst>
        </pc:spChg>
        <pc:spChg chg="ord">
          <ac:chgData name="Rosa, Crystal" userId="fb74c9b1-33bd-4af2-8565-ea2bdc65fe6b" providerId="ADAL" clId="{5F6D2B90-59AC-4312-A305-A6973559A963}" dt="2023-07-11T00:08:17.511" v="2" actId="13244"/>
          <ac:spMkLst>
            <pc:docMk/>
            <pc:sldMk cId="1323482831" sldId="264"/>
            <ac:spMk id="15" creationId="{C326D269-7F41-4E44-8A13-AE1B695E8677}"/>
          </ac:spMkLst>
        </pc:spChg>
      </pc:sldChg>
      <pc:sldChg chg="modSp mod">
        <pc:chgData name="Rosa, Crystal" userId="fb74c9b1-33bd-4af2-8565-ea2bdc65fe6b" providerId="ADAL" clId="{5F6D2B90-59AC-4312-A305-A6973559A963}" dt="2023-07-11T00:12:53.164" v="21" actId="13244"/>
        <pc:sldMkLst>
          <pc:docMk/>
          <pc:sldMk cId="3259736002" sldId="297"/>
        </pc:sldMkLst>
        <pc:spChg chg="ord">
          <ac:chgData name="Rosa, Crystal" userId="fb74c9b1-33bd-4af2-8565-ea2bdc65fe6b" providerId="ADAL" clId="{5F6D2B90-59AC-4312-A305-A6973559A963}" dt="2023-07-11T00:12:53.164" v="21" actId="13244"/>
          <ac:spMkLst>
            <pc:docMk/>
            <pc:sldMk cId="3259736002" sldId="297"/>
            <ac:spMk id="4" creationId="{96B35D68-DDEC-DA4B-6BA6-36BEC583C076}"/>
          </ac:spMkLst>
        </pc:spChg>
      </pc:sldChg>
      <pc:sldChg chg="modSp mod">
        <pc:chgData name="Rosa, Crystal" userId="fb74c9b1-33bd-4af2-8565-ea2bdc65fe6b" providerId="ADAL" clId="{5F6D2B90-59AC-4312-A305-A6973559A963}" dt="2023-07-11T00:12:31.718" v="20" actId="13244"/>
        <pc:sldMkLst>
          <pc:docMk/>
          <pc:sldMk cId="813981643" sldId="301"/>
        </pc:sldMkLst>
        <pc:spChg chg="ord">
          <ac:chgData name="Rosa, Crystal" userId="fb74c9b1-33bd-4af2-8565-ea2bdc65fe6b" providerId="ADAL" clId="{5F6D2B90-59AC-4312-A305-A6973559A963}" dt="2023-07-11T00:12:31.718" v="20" actId="13244"/>
          <ac:spMkLst>
            <pc:docMk/>
            <pc:sldMk cId="813981643" sldId="301"/>
            <ac:spMk id="7" creationId="{E51C2173-2F81-6980-F1ED-A887E798F795}"/>
          </ac:spMkLst>
        </pc:spChg>
      </pc:sldChg>
      <pc:sldChg chg="modSp mod">
        <pc:chgData name="Rosa, Crystal" userId="fb74c9b1-33bd-4af2-8565-ea2bdc65fe6b" providerId="ADAL" clId="{5F6D2B90-59AC-4312-A305-A6973559A963}" dt="2023-07-11T00:09:59.678" v="10" actId="13244"/>
        <pc:sldMkLst>
          <pc:docMk/>
          <pc:sldMk cId="1650613911" sldId="303"/>
        </pc:sldMkLst>
        <pc:spChg chg="ord">
          <ac:chgData name="Rosa, Crystal" userId="fb74c9b1-33bd-4af2-8565-ea2bdc65fe6b" providerId="ADAL" clId="{5F6D2B90-59AC-4312-A305-A6973559A963}" dt="2023-07-11T00:09:56.235" v="9" actId="13244"/>
          <ac:spMkLst>
            <pc:docMk/>
            <pc:sldMk cId="1650613911" sldId="30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59.678" v="10" actId="13244"/>
          <ac:spMkLst>
            <pc:docMk/>
            <pc:sldMk cId="1650613911" sldId="303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28.296" v="14" actId="13244"/>
        <pc:sldMkLst>
          <pc:docMk/>
          <pc:sldMk cId="1054884385" sldId="304"/>
        </pc:sldMkLst>
        <pc:spChg chg="ord">
          <ac:chgData name="Rosa, Crystal" userId="fb74c9b1-33bd-4af2-8565-ea2bdc65fe6b" providerId="ADAL" clId="{5F6D2B90-59AC-4312-A305-A6973559A963}" dt="2023-07-11T00:10:16.807" v="11" actId="13244"/>
          <ac:spMkLst>
            <pc:docMk/>
            <pc:sldMk cId="1054884385" sldId="304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0:18.961" v="12" actId="13244"/>
          <ac:spMkLst>
            <pc:docMk/>
            <pc:sldMk cId="1054884385" sldId="304"/>
            <ac:spMk id="9" creationId="{BADF41E3-B302-4C05-B004-242B35D59BFB}"/>
          </ac:spMkLst>
        </pc:spChg>
        <pc:picChg chg="mod ord">
          <ac:chgData name="Rosa, Crystal" userId="fb74c9b1-33bd-4af2-8565-ea2bdc65fe6b" providerId="ADAL" clId="{5F6D2B90-59AC-4312-A305-A6973559A963}" dt="2023-07-11T00:10:28.296" v="14" actId="13244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Rosa, Crystal" userId="fb74c9b1-33bd-4af2-8565-ea2bdc65fe6b" providerId="ADAL" clId="{5F6D2B90-59AC-4312-A305-A6973559A963}" dt="2023-07-11T00:14:12.204" v="27" actId="13244"/>
        <pc:sldMkLst>
          <pc:docMk/>
          <pc:sldMk cId="156447753" sldId="305"/>
        </pc:sldMkLst>
        <pc:spChg chg="ord">
          <ac:chgData name="Rosa, Crystal" userId="fb74c9b1-33bd-4af2-8565-ea2bdc65fe6b" providerId="ADAL" clId="{5F6D2B90-59AC-4312-A305-A6973559A963}" dt="2023-07-11T00:14:08.832" v="26" actId="13244"/>
          <ac:spMkLst>
            <pc:docMk/>
            <pc:sldMk cId="156447753" sldId="305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4:12.204" v="27" actId="13244"/>
          <ac:spMkLst>
            <pc:docMk/>
            <pc:sldMk cId="156447753" sldId="305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41.291" v="23" actId="13244"/>
        <pc:sldMkLst>
          <pc:docMk/>
          <pc:sldMk cId="1936964873" sldId="307"/>
        </pc:sldMkLst>
        <pc:spChg chg="ord">
          <ac:chgData name="Rosa, Crystal" userId="fb74c9b1-33bd-4af2-8565-ea2bdc65fe6b" providerId="ADAL" clId="{5F6D2B90-59AC-4312-A305-A6973559A963}" dt="2023-07-11T00:13:36.364" v="22" actId="13244"/>
          <ac:spMkLst>
            <pc:docMk/>
            <pc:sldMk cId="1936964873" sldId="307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41.291" v="23" actId="13244"/>
          <ac:spMkLst>
            <pc:docMk/>
            <pc:sldMk cId="1936964873" sldId="307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0:57.810" v="16" actId="13244"/>
        <pc:sldMkLst>
          <pc:docMk/>
          <pc:sldMk cId="1963271544" sldId="1132"/>
        </pc:sldMkLst>
        <pc:spChg chg="ord">
          <ac:chgData name="Rosa, Crystal" userId="fb74c9b1-33bd-4af2-8565-ea2bdc65fe6b" providerId="ADAL" clId="{5F6D2B90-59AC-4312-A305-A6973559A963}" dt="2023-07-11T00:08:48.506" v="4" actId="13244"/>
          <ac:spMkLst>
            <pc:docMk/>
            <pc:sldMk cId="1963271544" sldId="1132"/>
            <ac:spMk id="4" creationId="{9DA8C127-7518-02FF-2670-E6AF73DACDE2}"/>
          </ac:spMkLst>
        </pc:spChg>
        <pc:spChg chg="ord">
          <ac:chgData name="Rosa, Crystal" userId="fb74c9b1-33bd-4af2-8565-ea2bdc65fe6b" providerId="ADAL" clId="{5F6D2B90-59AC-4312-A305-A6973559A963}" dt="2023-07-11T00:10:57.810" v="16" actId="13244"/>
          <ac:spMkLst>
            <pc:docMk/>
            <pc:sldMk cId="1963271544" sldId="1132"/>
            <ac:spMk id="26" creationId="{07CE0FFF-B88F-4BF6-A69A-2F7EF781B2CD}"/>
          </ac:spMkLst>
        </pc:spChg>
      </pc:sldChg>
      <pc:sldChg chg="modSp mod delCm">
        <pc:chgData name="Rosa, Crystal" userId="fb74c9b1-33bd-4af2-8565-ea2bdc65fe6b" providerId="ADAL" clId="{5F6D2B90-59AC-4312-A305-A6973559A963}" dt="2023-07-11T00:09:12.382" v="6" actId="13244"/>
        <pc:sldMkLst>
          <pc:docMk/>
          <pc:sldMk cId="3474700355" sldId="1958"/>
        </pc:sldMkLst>
        <pc:spChg chg="ord">
          <ac:chgData name="Rosa, Crystal" userId="fb74c9b1-33bd-4af2-8565-ea2bdc65fe6b" providerId="ADAL" clId="{5F6D2B90-59AC-4312-A305-A6973559A963}" dt="2023-07-11T00:09:02.935" v="5" actId="13244"/>
          <ac:spMkLst>
            <pc:docMk/>
            <pc:sldMk cId="3474700355" sldId="1958"/>
            <ac:spMk id="2" creationId="{A2803681-83BA-14F1-D3BA-1D9F3C619B06}"/>
          </ac:spMkLst>
        </pc:spChg>
        <pc:spChg chg="ord">
          <ac:chgData name="Rosa, Crystal" userId="fb74c9b1-33bd-4af2-8565-ea2bdc65fe6b" providerId="ADAL" clId="{5F6D2B90-59AC-4312-A305-A6973559A963}" dt="2023-07-11T00:09:12.382" v="6" actId="13244"/>
          <ac:spMkLst>
            <pc:docMk/>
            <pc:sldMk cId="3474700355" sldId="1958"/>
            <ac:spMk id="15" creationId="{133C9064-36E8-9E93-C896-7069C24EFB2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osa, Crystal" userId="fb74c9b1-33bd-4af2-8565-ea2bdc65fe6b" providerId="ADAL" clId="{5F6D2B90-59AC-4312-A305-A6973559A963}" dt="2023-07-11T00:07:19.389" v="0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modSp mod">
        <pc:chgData name="Rosa, Crystal" userId="fb74c9b1-33bd-4af2-8565-ea2bdc65fe6b" providerId="ADAL" clId="{5F6D2B90-59AC-4312-A305-A6973559A963}" dt="2023-07-11T00:11:32.066" v="17" actId="13244"/>
        <pc:sldMkLst>
          <pc:docMk/>
          <pc:sldMk cId="3992210531" sldId="1962"/>
        </pc:sldMkLst>
        <pc:spChg chg="ord">
          <ac:chgData name="Rosa, Crystal" userId="fb74c9b1-33bd-4af2-8565-ea2bdc65fe6b" providerId="ADAL" clId="{5F6D2B90-59AC-4312-A305-A6973559A963}" dt="2023-07-11T00:11:32.066" v="17" actId="13244"/>
          <ac:spMkLst>
            <pc:docMk/>
            <pc:sldMk cId="3992210531" sldId="1962"/>
            <ac:spMk id="3" creationId="{2088BC24-1734-6419-1D44-083DDAA0362A}"/>
          </ac:spMkLst>
        </pc:spChg>
      </pc:sldChg>
      <pc:sldChg chg="modSp mod">
        <pc:chgData name="Rosa, Crystal" userId="fb74c9b1-33bd-4af2-8565-ea2bdc65fe6b" providerId="ADAL" clId="{5F6D2B90-59AC-4312-A305-A6973559A963}" dt="2023-07-11T00:09:46.111" v="8" actId="13244"/>
        <pc:sldMkLst>
          <pc:docMk/>
          <pc:sldMk cId="1389041451" sldId="1969"/>
        </pc:sldMkLst>
        <pc:spChg chg="ord">
          <ac:chgData name="Rosa, Crystal" userId="fb74c9b1-33bd-4af2-8565-ea2bdc65fe6b" providerId="ADAL" clId="{5F6D2B90-59AC-4312-A305-A6973559A963}" dt="2023-07-11T00:09:44.131" v="7" actId="13244"/>
          <ac:spMkLst>
            <pc:docMk/>
            <pc:sldMk cId="1389041451" sldId="1969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09:46.111" v="8" actId="13244"/>
          <ac:spMkLst>
            <pc:docMk/>
            <pc:sldMk cId="1389041451" sldId="1969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07:49.569" v="1" actId="962"/>
        <pc:sldMkLst>
          <pc:docMk/>
          <pc:sldMk cId="472625034" sldId="1971"/>
        </pc:sldMkLst>
        <pc:spChg chg="mod">
          <ac:chgData name="Rosa, Crystal" userId="fb74c9b1-33bd-4af2-8565-ea2bdc65fe6b" providerId="ADAL" clId="{5F6D2B90-59AC-4312-A305-A6973559A963}" dt="2023-07-11T00:07:49.569" v="1" actId="962"/>
          <ac:spMkLst>
            <pc:docMk/>
            <pc:sldMk cId="472625034" sldId="1971"/>
            <ac:spMk id="6" creationId="{0038D609-7001-4947-92BB-A379E0414168}"/>
          </ac:spMkLst>
        </pc:spChg>
      </pc:sldChg>
      <pc:sldChg chg="modSp mod">
        <pc:chgData name="Rosa, Crystal" userId="fb74c9b1-33bd-4af2-8565-ea2bdc65fe6b" providerId="ADAL" clId="{5F6D2B90-59AC-4312-A305-A6973559A963}" dt="2023-07-11T00:11:42.528" v="19" actId="13244"/>
        <pc:sldMkLst>
          <pc:docMk/>
          <pc:sldMk cId="175234593" sldId="1972"/>
        </pc:sldMkLst>
        <pc:spChg chg="ord">
          <ac:chgData name="Rosa, Crystal" userId="fb74c9b1-33bd-4af2-8565-ea2bdc65fe6b" providerId="ADAL" clId="{5F6D2B90-59AC-4312-A305-A6973559A963}" dt="2023-07-11T00:11:39.928" v="18" actId="13244"/>
          <ac:spMkLst>
            <pc:docMk/>
            <pc:sldMk cId="175234593" sldId="1972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1:42.528" v="19" actId="13244"/>
          <ac:spMkLst>
            <pc:docMk/>
            <pc:sldMk cId="175234593" sldId="1972"/>
            <ac:spMk id="9" creationId="{BADF41E3-B302-4C05-B004-242B35D59BFB}"/>
          </ac:spMkLst>
        </pc:spChg>
      </pc:sldChg>
      <pc:sldChg chg="modSp mod">
        <pc:chgData name="Rosa, Crystal" userId="fb74c9b1-33bd-4af2-8565-ea2bdc65fe6b" providerId="ADAL" clId="{5F6D2B90-59AC-4312-A305-A6973559A963}" dt="2023-07-11T00:13:58.799" v="25" actId="13244"/>
        <pc:sldMkLst>
          <pc:docMk/>
          <pc:sldMk cId="2953531974" sldId="1973"/>
        </pc:sldMkLst>
        <pc:spChg chg="ord">
          <ac:chgData name="Rosa, Crystal" userId="fb74c9b1-33bd-4af2-8565-ea2bdc65fe6b" providerId="ADAL" clId="{5F6D2B90-59AC-4312-A305-A6973559A963}" dt="2023-07-11T00:13:55.459" v="24" actId="13244"/>
          <ac:spMkLst>
            <pc:docMk/>
            <pc:sldMk cId="2953531974" sldId="1973"/>
            <ac:spMk id="8" creationId="{8DE9A669-D776-4F40-B93F-5C8937EDB3CB}"/>
          </ac:spMkLst>
        </pc:spChg>
        <pc:spChg chg="ord">
          <ac:chgData name="Rosa, Crystal" userId="fb74c9b1-33bd-4af2-8565-ea2bdc65fe6b" providerId="ADAL" clId="{5F6D2B90-59AC-4312-A305-A6973559A963}" dt="2023-07-11T00:13:58.799" v="25" actId="13244"/>
          <ac:spMkLst>
            <pc:docMk/>
            <pc:sldMk cId="2953531974" sldId="1973"/>
            <ac:spMk id="9" creationId="{BADF41E3-B302-4C05-B004-242B35D59BFB}"/>
          </ac:spMkLst>
        </pc:spChg>
      </pc:sldChg>
    </pc:docChg>
  </pc:docChgLst>
  <pc:docChgLst>
    <pc:chgData name="Rasmussen, Susanne" userId="0bd74171-9339-45ee-b4ef-ce827adfd046" providerId="ADAL" clId="{9A7DD9CE-4C06-48AB-9E64-1F168ED79126}"/>
    <pc:docChg chg="undo custSel addSld delSld modSld sldOrd addMainMaster delMainMaster">
      <pc:chgData name="Rasmussen, Susanne" userId="0bd74171-9339-45ee-b4ef-ce827adfd046" providerId="ADAL" clId="{9A7DD9CE-4C06-48AB-9E64-1F168ED79126}" dt="2023-07-10T20:26:38.510" v="2304" actId="20577"/>
      <pc:docMkLst>
        <pc:docMk/>
      </pc:docMkLst>
      <pc:sldChg chg="delSp">
        <pc:chgData name="Rasmussen, Susanne" userId="0bd74171-9339-45ee-b4ef-ce827adfd046" providerId="ADAL" clId="{9A7DD9CE-4C06-48AB-9E64-1F168ED79126}" dt="2023-07-06T19:48:15.328" v="1"/>
        <pc:sldMkLst>
          <pc:docMk/>
          <pc:sldMk cId="1323482831" sldId="264"/>
        </pc:sldMkLst>
        <pc:picChg chg="del">
          <ac:chgData name="Rasmussen, Susanne" userId="0bd74171-9339-45ee-b4ef-ce827adfd046" providerId="ADAL" clId="{9A7DD9CE-4C06-48AB-9E64-1F168ED79126}" dt="2023-07-06T19:48:15.328" v="1"/>
          <ac:picMkLst>
            <pc:docMk/>
            <pc:sldMk cId="1323482831" sldId="264"/>
            <ac:picMk id="7" creationId="{93A9D629-E301-7C1B-D60D-C87D336F6BD5}"/>
          </ac:picMkLst>
        </pc:picChg>
      </pc:sldChg>
      <pc:sldChg chg="modSp add del">
        <pc:chgData name="Rasmussen, Susanne" userId="0bd74171-9339-45ee-b4ef-ce827adfd046" providerId="ADAL" clId="{9A7DD9CE-4C06-48AB-9E64-1F168ED79126}" dt="2023-07-07T14:04:06.831" v="378"/>
        <pc:sldMkLst>
          <pc:docMk/>
          <pc:sldMk cId="950041717" sldId="278"/>
        </pc:sldMkLst>
        <pc:spChg chg="mod">
          <ac:chgData name="Rasmussen, Susanne" userId="0bd74171-9339-45ee-b4ef-ce827adfd046" providerId="ADAL" clId="{9A7DD9CE-4C06-48AB-9E64-1F168ED79126}" dt="2023-07-07T14:04:00.546" v="377"/>
          <ac:spMkLst>
            <pc:docMk/>
            <pc:sldMk cId="950041717" sldId="278"/>
            <ac:spMk id="4" creationId="{49C9271C-08C5-F468-50CE-D24ECE6536F2}"/>
          </ac:spMkLst>
        </pc:spChg>
      </pc:sldChg>
      <pc:sldChg chg="del">
        <pc:chgData name="Rasmussen, Susanne" userId="0bd74171-9339-45ee-b4ef-ce827adfd046" providerId="ADAL" clId="{9A7DD9CE-4C06-48AB-9E64-1F168ED79126}" dt="2023-07-07T14:08:10.471" v="387" actId="2696"/>
        <pc:sldMkLst>
          <pc:docMk/>
          <pc:sldMk cId="1472176988" sldId="278"/>
        </pc:sldMkLst>
      </pc:sldChg>
      <pc:sldChg chg="modSp add del mod ord addCm modCm">
        <pc:chgData name="Rasmussen, Susanne" userId="0bd74171-9339-45ee-b4ef-ce827adfd046" providerId="ADAL" clId="{9A7DD9CE-4C06-48AB-9E64-1F168ED79126}" dt="2023-07-07T14:04:40.753" v="383" actId="2696"/>
        <pc:sldMkLst>
          <pc:docMk/>
          <pc:sldMk cId="1529278536" sldId="278"/>
        </pc:sldMkLst>
        <pc:spChg chg="mod">
          <ac:chgData name="Rasmussen, Susanne" userId="0bd74171-9339-45ee-b4ef-ce827adfd046" providerId="ADAL" clId="{9A7DD9CE-4C06-48AB-9E64-1F168ED79126}" dt="2023-07-07T14:04:34.558" v="382" actId="6549"/>
          <ac:spMkLst>
            <pc:docMk/>
            <pc:sldMk cId="1529278536" sldId="278"/>
            <ac:spMk id="3" creationId="{CE00AF81-0EBA-4662-DB3B-512DC8F1AA81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7T14:04:34.558" v="382" actId="6549"/>
              <pc2:cmMkLst xmlns:pc2="http://schemas.microsoft.com/office/powerpoint/2019/9/main/command">
                <pc:docMk/>
                <pc:sldMk cId="1529278536" sldId="278"/>
                <pc2:cmMk id="{CC5C75E6-89F2-4960-A8B0-167C582772CE}"/>
              </pc2:cmMkLst>
            </pc226:cmChg>
          </p:ext>
        </pc:extLst>
      </pc:sldChg>
      <pc:sldChg chg="modSp mod addCm modCm">
        <pc:chgData name="Rasmussen, Susanne" userId="0bd74171-9339-45ee-b4ef-ce827adfd046" providerId="ADAL" clId="{9A7DD9CE-4C06-48AB-9E64-1F168ED79126}" dt="2023-07-07T14:30:35.779" v="1201" actId="13926"/>
        <pc:sldMkLst>
          <pc:docMk/>
          <pc:sldMk cId="2346477064" sldId="296"/>
        </pc:sldMkLst>
        <pc:spChg chg="mod">
          <ac:chgData name="Rasmussen, Susanne" userId="0bd74171-9339-45ee-b4ef-ce827adfd046" providerId="ADAL" clId="{9A7DD9CE-4C06-48AB-9E64-1F168ED79126}" dt="2023-07-06T21:37:37.972" v="116" actId="14100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Rasmussen, Susanne" userId="0bd74171-9339-45ee-b4ef-ce827adfd046" providerId="ADAL" clId="{9A7DD9CE-4C06-48AB-9E64-1F168ED79126}" dt="2023-07-07T14:30:35.779" v="1201" actId="13926"/>
          <ac:spMkLst>
            <pc:docMk/>
            <pc:sldMk cId="2346477064" sldId="296"/>
            <ac:spMk id="18" creationId="{131F2AF7-DFEE-A6A3-7AB5-0606F78CD21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06T21:39:16.043" v="176" actId="20577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10T20:19:37.142" v="2166" actId="1076"/>
        <pc:sldMkLst>
          <pc:docMk/>
          <pc:sldMk cId="3259736002" sldId="297"/>
        </pc:sldMkLst>
        <pc:spChg chg="mod">
          <ac:chgData name="Rasmussen, Susanne" userId="0bd74171-9339-45ee-b4ef-ce827adfd046" providerId="ADAL" clId="{9A7DD9CE-4C06-48AB-9E64-1F168ED79126}" dt="2023-07-06T21:41:20.414" v="248" actId="27636"/>
          <ac:spMkLst>
            <pc:docMk/>
            <pc:sldMk cId="3259736002" sldId="297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19:37.142" v="2166" actId="1076"/>
          <ac:spMkLst>
            <pc:docMk/>
            <pc:sldMk cId="3259736002" sldId="297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3:48.092" v="2228" actId="20577"/>
        <pc:sldMkLst>
          <pc:docMk/>
          <pc:sldMk cId="343359655" sldId="300"/>
        </pc:sldMkLst>
        <pc:spChg chg="mod">
          <ac:chgData name="Rasmussen, Susanne" userId="0bd74171-9339-45ee-b4ef-ce827adfd046" providerId="ADAL" clId="{9A7DD9CE-4C06-48AB-9E64-1F168ED79126}" dt="2023-07-10T20:23:48.092" v="2228" actId="20577"/>
          <ac:spMkLst>
            <pc:docMk/>
            <pc:sldMk cId="343359655" sldId="300"/>
            <ac:spMk id="3" creationId="{06AC962A-FABE-4F14-91E7-A91AD417ADFF}"/>
          </ac:spMkLst>
        </pc:spChg>
      </pc:sldChg>
      <pc:sldChg chg="modSp mod addCm">
        <pc:chgData name="Rasmussen, Susanne" userId="0bd74171-9339-45ee-b4ef-ce827adfd046" providerId="ADAL" clId="{9A7DD9CE-4C06-48AB-9E64-1F168ED79126}" dt="2023-07-07T15:00:33.482" v="1923"/>
        <pc:sldMkLst>
          <pc:docMk/>
          <pc:sldMk cId="813981643" sldId="301"/>
        </pc:sldMkLst>
        <pc:spChg chg="mod">
          <ac:chgData name="Rasmussen, Susanne" userId="0bd74171-9339-45ee-b4ef-ce827adfd046" providerId="ADAL" clId="{9A7DD9CE-4C06-48AB-9E64-1F168ED79126}" dt="2023-07-07T14:33:00.280" v="1314" actId="6549"/>
          <ac:spMkLst>
            <pc:docMk/>
            <pc:sldMk cId="813981643" sldId="301"/>
            <ac:spMk id="3" creationId="{06AC962A-FABE-4F14-91E7-A91AD417ADFF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5:00:33.482" v="1923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modSp mod">
        <pc:chgData name="Rasmussen, Susanne" userId="0bd74171-9339-45ee-b4ef-ce827adfd046" providerId="ADAL" clId="{9A7DD9CE-4C06-48AB-9E64-1F168ED79126}" dt="2023-07-07T14:55:16.131" v="1756" actId="15"/>
        <pc:sldMkLst>
          <pc:docMk/>
          <pc:sldMk cId="780403188" sldId="302"/>
        </pc:sldMkLst>
        <pc:spChg chg="mod">
          <ac:chgData name="Rasmussen, Susanne" userId="0bd74171-9339-45ee-b4ef-ce827adfd046" providerId="ADAL" clId="{9A7DD9CE-4C06-48AB-9E64-1F168ED79126}" dt="2023-07-07T14:55:16.131" v="1756" actId="15"/>
          <ac:spMkLst>
            <pc:docMk/>
            <pc:sldMk cId="780403188" sldId="302"/>
            <ac:spMk id="3" creationId="{06AC962A-FABE-4F14-91E7-A91AD417ADFF}"/>
          </ac:spMkLst>
        </pc:spChg>
      </pc:sldChg>
      <pc:sldChg chg="modSp mod ord">
        <pc:chgData name="Rasmussen, Susanne" userId="0bd74171-9339-45ee-b4ef-ce827adfd046" providerId="ADAL" clId="{9A7DD9CE-4C06-48AB-9E64-1F168ED79126}" dt="2023-07-10T20:03:48.596" v="2148"/>
        <pc:sldMkLst>
          <pc:docMk/>
          <pc:sldMk cId="1650613911" sldId="303"/>
        </pc:sldMkLst>
        <pc:spChg chg="mod">
          <ac:chgData name="Rasmussen, Susanne" userId="0bd74171-9339-45ee-b4ef-ce827adfd046" providerId="ADAL" clId="{9A7DD9CE-4C06-48AB-9E64-1F168ED79126}" dt="2023-07-07T14:58:23.121" v="1921" actId="6549"/>
          <ac:spMkLst>
            <pc:docMk/>
            <pc:sldMk cId="1650613911" sldId="303"/>
            <ac:spMk id="11" creationId="{80375151-8B20-3D8C-FEBF-EF4330089FFA}"/>
          </ac:spMkLst>
        </pc:spChg>
        <pc:graphicFrameChg chg="mod">
          <ac:chgData name="Rasmussen, Susanne" userId="0bd74171-9339-45ee-b4ef-ce827adfd046" providerId="ADAL" clId="{9A7DD9CE-4C06-48AB-9E64-1F168ED79126}" dt="2023-07-10T20:03:48.596" v="2148"/>
          <ac:graphicFrameMkLst>
            <pc:docMk/>
            <pc:sldMk cId="1650613911" sldId="303"/>
            <ac:graphicFrameMk id="3" creationId="{4D729383-A3E2-ABBC-94AE-375541A950E8}"/>
          </ac:graphicFrameMkLst>
        </pc:graphicFrameChg>
      </pc:sldChg>
      <pc:sldChg chg="modSp mod">
        <pc:chgData name="Rasmussen, Susanne" userId="0bd74171-9339-45ee-b4ef-ce827adfd046" providerId="ADAL" clId="{9A7DD9CE-4C06-48AB-9E64-1F168ED79126}" dt="2023-07-07T14:25:21.019" v="1181" actId="113"/>
        <pc:sldMkLst>
          <pc:docMk/>
          <pc:sldMk cId="1054884385" sldId="304"/>
        </pc:sldMkLst>
        <pc:spChg chg="mod">
          <ac:chgData name="Rasmussen, Susanne" userId="0bd74171-9339-45ee-b4ef-ce827adfd046" providerId="ADAL" clId="{9A7DD9CE-4C06-48AB-9E64-1F168ED79126}" dt="2023-07-07T14:25:21.019" v="1181" actId="113"/>
          <ac:spMkLst>
            <pc:docMk/>
            <pc:sldMk cId="1054884385" sldId="304"/>
            <ac:spMk id="4" creationId="{DC0520D7-75CC-508B-69FB-965CE40BDC11}"/>
          </ac:spMkLst>
        </pc:spChg>
      </pc:sldChg>
      <pc:sldChg chg="modSp add del mod">
        <pc:chgData name="Rasmussen, Susanne" userId="0bd74171-9339-45ee-b4ef-ce827adfd046" providerId="ADAL" clId="{9A7DD9CE-4C06-48AB-9E64-1F168ED79126}" dt="2023-07-10T20:14:36.741" v="2153" actId="20577"/>
        <pc:sldMkLst>
          <pc:docMk/>
          <pc:sldMk cId="156447753" sldId="305"/>
        </pc:sldMkLst>
        <pc:spChg chg="mod">
          <ac:chgData name="Rasmussen, Susanne" userId="0bd74171-9339-45ee-b4ef-ce827adfd046" providerId="ADAL" clId="{9A7DD9CE-4C06-48AB-9E64-1F168ED79126}" dt="2023-07-10T20:14:36.741" v="2153" actId="20577"/>
          <ac:spMkLst>
            <pc:docMk/>
            <pc:sldMk cId="156447753" sldId="305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58:56.967" v="1922" actId="113"/>
        <pc:sldMkLst>
          <pc:docMk/>
          <pc:sldMk cId="2315025724" sldId="306"/>
        </pc:sldMkLst>
        <pc:spChg chg="mod">
          <ac:chgData name="Rasmussen, Susanne" userId="0bd74171-9339-45ee-b4ef-ce827adfd046" providerId="ADAL" clId="{9A7DD9CE-4C06-48AB-9E64-1F168ED79126}" dt="2023-07-07T14:58:56.967" v="1922" actId="113"/>
          <ac:spMkLst>
            <pc:docMk/>
            <pc:sldMk cId="2315025724" sldId="306"/>
            <ac:spMk id="4" creationId="{8990CD60-0CD7-30BE-F23E-6D1FBD124C0E}"/>
          </ac:spMkLst>
        </pc:spChg>
        <pc:picChg chg="mod">
          <ac:chgData name="Rasmussen, Susanne" userId="0bd74171-9339-45ee-b4ef-ce827adfd046" providerId="ADAL" clId="{9A7DD9CE-4C06-48AB-9E64-1F168ED79126}" dt="2023-07-07T14:26:33.705" v="1187" actId="1076"/>
          <ac:picMkLst>
            <pc:docMk/>
            <pc:sldMk cId="2315025724" sldId="306"/>
            <ac:picMk id="50" creationId="{A1F8D0D6-16E7-918C-6278-B9522CE6D9E9}"/>
          </ac:picMkLst>
        </pc:picChg>
      </pc:sldChg>
      <pc:sldChg chg="modSp mod">
        <pc:chgData name="Rasmussen, Susanne" userId="0bd74171-9339-45ee-b4ef-ce827adfd046" providerId="ADAL" clId="{9A7DD9CE-4C06-48AB-9E64-1F168ED79126}" dt="2023-07-06T21:36:01.542" v="114" actId="14100"/>
        <pc:sldMkLst>
          <pc:docMk/>
          <pc:sldMk cId="1936964873" sldId="307"/>
        </pc:sldMkLst>
        <pc:spChg chg="mod">
          <ac:chgData name="Rasmussen, Susanne" userId="0bd74171-9339-45ee-b4ef-ce827adfd046" providerId="ADAL" clId="{9A7DD9CE-4C06-48AB-9E64-1F168ED79126}" dt="2023-07-06T21:36:01.542" v="114" actId="14100"/>
          <ac:spMkLst>
            <pc:docMk/>
            <pc:sldMk cId="1936964873" sldId="307"/>
            <ac:spMk id="2" creationId="{71ECDFDF-B56B-4C43-BBBF-D35CEE5E475F}"/>
          </ac:spMkLst>
        </pc:spChg>
      </pc:sldChg>
      <pc:sldChg chg="modSp mod">
        <pc:chgData name="Rasmussen, Susanne" userId="0bd74171-9339-45ee-b4ef-ce827adfd046" providerId="ADAL" clId="{9A7DD9CE-4C06-48AB-9E64-1F168ED79126}" dt="2023-07-07T14:30:14.929" v="1200" actId="20577"/>
        <pc:sldMkLst>
          <pc:docMk/>
          <pc:sldMk cId="2338493111" sldId="308"/>
        </pc:sldMkLst>
        <pc:spChg chg="mod">
          <ac:chgData name="Rasmussen, Susanne" userId="0bd74171-9339-45ee-b4ef-ce827adfd046" providerId="ADAL" clId="{9A7DD9CE-4C06-48AB-9E64-1F168ED79126}" dt="2023-07-06T21:36:28.090" v="115" actId="14100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07T14:30:14.929" v="1200" actId="20577"/>
          <ac:spMkLst>
            <pc:docMk/>
            <pc:sldMk cId="2338493111" sldId="308"/>
            <ac:spMk id="3" creationId="{06AC962A-FABE-4F14-91E7-A91AD417ADFF}"/>
          </ac:spMkLst>
        </pc:spChg>
      </pc:sldChg>
      <pc:sldChg chg="addSp delSp modSp new del mod setBg modClrScheme chgLayout">
        <pc:chgData name="Rasmussen, Susanne" userId="0bd74171-9339-45ee-b4ef-ce827adfd046" providerId="ADAL" clId="{9A7DD9CE-4C06-48AB-9E64-1F168ED79126}" dt="2023-07-06T19:57:59.865" v="60" actId="47"/>
        <pc:sldMkLst>
          <pc:docMk/>
          <pc:sldMk cId="423623425" sldId="309"/>
        </pc:sldMkLst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2" creationId="{7345F0FA-9671-2615-2FFB-9AA17315AB23}"/>
          </ac:spMkLst>
        </pc:spChg>
        <pc:spChg chg="del mod">
          <ac:chgData name="Rasmussen, Susanne" userId="0bd74171-9339-45ee-b4ef-ce827adfd046" providerId="ADAL" clId="{9A7DD9CE-4C06-48AB-9E64-1F168ED79126}" dt="2023-07-06T19:49:04.100" v="9" actId="700"/>
          <ac:spMkLst>
            <pc:docMk/>
            <pc:sldMk cId="423623425" sldId="309"/>
            <ac:spMk id="3" creationId="{DD80122B-42DC-A435-94F5-23EE9C5D66C9}"/>
          </ac:spMkLst>
        </pc:spChg>
        <pc:spChg chg="del mod ord">
          <ac:chgData name="Rasmussen, Susanne" userId="0bd74171-9339-45ee-b4ef-ce827adfd046" providerId="ADAL" clId="{9A7DD9CE-4C06-48AB-9E64-1F168ED79126}" dt="2023-07-06T19:49:16.382" v="10" actId="21"/>
          <ac:spMkLst>
            <pc:docMk/>
            <pc:sldMk cId="423623425" sldId="309"/>
            <ac:spMk id="4" creationId="{716B7422-A3A6-9628-79DE-219B04C77CC8}"/>
          </ac:spMkLst>
        </pc:spChg>
        <pc:spChg chg="add mod">
          <ac:chgData name="Rasmussen, Susanne" userId="0bd74171-9339-45ee-b4ef-ce827adfd046" providerId="ADAL" clId="{9A7DD9CE-4C06-48AB-9E64-1F168ED79126}" dt="2023-07-06T19:49:49.808" v="56" actId="20577"/>
          <ac:spMkLst>
            <pc:docMk/>
            <pc:sldMk cId="423623425" sldId="309"/>
            <ac:spMk id="6" creationId="{51E00123-ED21-B6A3-DFB3-3751FB2CCFB4}"/>
          </ac:spMkLst>
        </pc:spChg>
        <pc:spChg chg="add del">
          <ac:chgData name="Rasmussen, Susanne" userId="0bd74171-9339-45ee-b4ef-ce827adfd046" providerId="ADAL" clId="{9A7DD9CE-4C06-48AB-9E64-1F168ED79126}" dt="2023-07-06T19:48:51.485" v="5" actId="26606"/>
          <ac:spMkLst>
            <pc:docMk/>
            <pc:sldMk cId="423623425" sldId="309"/>
            <ac:spMk id="10" creationId="{1A95671B-3CC6-4792-9114-B74FAEA224E6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2" creationId="{2E92FA66-67D7-4CB4-94D3-E643A9AD4757}"/>
          </ac:spMkLst>
        </pc:spChg>
        <pc:spChg chg="add del">
          <ac:chgData name="Rasmussen, Susanne" userId="0bd74171-9339-45ee-b4ef-ce827adfd046" providerId="ADAL" clId="{9A7DD9CE-4C06-48AB-9E64-1F168ED79126}" dt="2023-07-06T19:48:57.630" v="7" actId="26606"/>
          <ac:spMkLst>
            <pc:docMk/>
            <pc:sldMk cId="423623425" sldId="309"/>
            <ac:spMk id="13" creationId="{32AEEBC8-9D30-42EF-95F2-386C2653FBF0}"/>
          </ac:spMkLst>
        </pc:spChg>
        <pc:picChg chg="add del mod">
          <ac:chgData name="Rasmussen, Susanne" userId="0bd74171-9339-45ee-b4ef-ce827adfd046" providerId="ADAL" clId="{9A7DD9CE-4C06-48AB-9E64-1F168ED79126}" dt="2023-07-06T19:48:58.317" v="8"/>
          <ac:picMkLst>
            <pc:docMk/>
            <pc:sldMk cId="423623425" sldId="309"/>
            <ac:picMk id="5" creationId="{C39D09ED-4913-A157-396B-4AB9D3E1B337}"/>
          </ac:picMkLst>
        </pc:picChg>
      </pc:sldChg>
      <pc:sldChg chg="addSp delSp modSp add del mod addCm delCm modCm">
        <pc:chgData name="Rasmussen, Susanne" userId="0bd74171-9339-45ee-b4ef-ce827adfd046" providerId="ADAL" clId="{9A7DD9CE-4C06-48AB-9E64-1F168ED79126}" dt="2023-07-10T19:45:58.431" v="1983" actId="1076"/>
        <pc:sldMkLst>
          <pc:docMk/>
          <pc:sldMk cId="1963271544" sldId="1132"/>
        </pc:sldMkLst>
        <pc:spChg chg="mod">
          <ac:chgData name="Rasmussen, Susanne" userId="0bd74171-9339-45ee-b4ef-ce827adfd046" providerId="ADAL" clId="{9A7DD9CE-4C06-48AB-9E64-1F168ED79126}" dt="2023-07-10T19:45:18.125" v="1978" actId="20577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Rasmussen, Susanne" userId="0bd74171-9339-45ee-b4ef-ce827adfd046" providerId="ADAL" clId="{9A7DD9CE-4C06-48AB-9E64-1F168ED79126}" dt="2023-07-07T13:54:58.938" v="273" actId="478"/>
          <ac:spMkLst>
            <pc:docMk/>
            <pc:sldMk cId="1963271544" sldId="1132"/>
            <ac:spMk id="2" creationId="{BBDA4065-88E1-CB35-2B13-48FB8543E0E4}"/>
          </ac:spMkLst>
        </pc:spChg>
        <pc:spChg chg="mod">
          <ac:chgData name="Rasmussen, Susanne" userId="0bd74171-9339-45ee-b4ef-ce827adfd046" providerId="ADAL" clId="{9A7DD9CE-4C06-48AB-9E64-1F168ED79126}" dt="2023-07-07T13:56:32.658" v="299" actId="20577"/>
          <ac:spMkLst>
            <pc:docMk/>
            <pc:sldMk cId="1963271544" sldId="1132"/>
            <ac:spMk id="3" creationId="{5759D7FB-62D6-BB6F-C5C9-3B1CCCF65691}"/>
          </ac:spMkLst>
        </pc:spChg>
        <pc:spChg chg="add del mod">
          <ac:chgData name="Rasmussen, Susanne" userId="0bd74171-9339-45ee-b4ef-ce827adfd046" providerId="ADAL" clId="{9A7DD9CE-4C06-48AB-9E64-1F168ED79126}" dt="2023-07-07T14:54:39.161" v="1752" actId="478"/>
          <ac:spMkLst>
            <pc:docMk/>
            <pc:sldMk cId="1963271544" sldId="1132"/>
            <ac:spMk id="4" creationId="{670C3D09-07E7-B241-89DC-3F3804B5FEF1}"/>
          </ac:spMkLst>
        </pc:spChg>
        <pc:spChg chg="mod">
          <ac:chgData name="Rasmussen, Susanne" userId="0bd74171-9339-45ee-b4ef-ce827adfd046" providerId="ADAL" clId="{9A7DD9CE-4C06-48AB-9E64-1F168ED79126}" dt="2023-07-07T14:00:54.023" v="372" actId="255"/>
          <ac:spMkLst>
            <pc:docMk/>
            <pc:sldMk cId="1963271544" sldId="1132"/>
            <ac:spMk id="5" creationId="{D8AC20E5-DC45-4CD6-B89A-B6A38FF880E8}"/>
          </ac:spMkLst>
        </pc:spChg>
        <pc:spChg chg="mod">
          <ac:chgData name="Rasmussen, Susanne" userId="0bd74171-9339-45ee-b4ef-ce827adfd046" providerId="ADAL" clId="{9A7DD9CE-4C06-48AB-9E64-1F168ED79126}" dt="2023-07-10T19:45:58.431" v="1983" actId="1076"/>
          <ac:spMkLst>
            <pc:docMk/>
            <pc:sldMk cId="1963271544" sldId="1132"/>
            <ac:spMk id="26" creationId="{07CE0FFF-B88F-4BF6-A69A-2F7EF781B2CD}"/>
          </ac:spMkLst>
        </pc:spChg>
        <pc:spChg chg="mod">
          <ac:chgData name="Rasmussen, Susanne" userId="0bd74171-9339-45ee-b4ef-ce827adfd046" providerId="ADAL" clId="{9A7DD9CE-4C06-48AB-9E64-1F168ED79126}" dt="2023-07-10T19:45:27.536" v="1979" actId="14100"/>
          <ac:spMkLst>
            <pc:docMk/>
            <pc:sldMk cId="1963271544" sldId="1132"/>
            <ac:spMk id="31" creationId="{303B9770-7DE8-9A95-C80B-6C4BC1773EAF}"/>
          </ac:spMkLst>
        </pc:spChg>
        <pc:spChg chg="del mod">
          <ac:chgData name="Rasmussen, Susanne" userId="0bd74171-9339-45ee-b4ef-ce827adfd046" providerId="ADAL" clId="{9A7DD9CE-4C06-48AB-9E64-1F168ED79126}" dt="2023-07-07T13:56:43.936" v="304"/>
          <ac:spMkLst>
            <pc:docMk/>
            <pc:sldMk cId="1963271544" sldId="1132"/>
            <ac:spMk id="33" creationId="{1F475A43-2268-E230-5BE5-E632D789BBF4}"/>
          </ac:spMkLst>
        </pc:spChg>
        <pc:spChg chg="del">
          <ac:chgData name="Rasmussen, Susanne" userId="0bd74171-9339-45ee-b4ef-ce827adfd046" providerId="ADAL" clId="{9A7DD9CE-4C06-48AB-9E64-1F168ED79126}" dt="2023-07-07T13:54:49.578" v="272" actId="478"/>
          <ac:spMkLst>
            <pc:docMk/>
            <pc:sldMk cId="1963271544" sldId="1132"/>
            <ac:spMk id="34" creationId="{9DA36592-C8CB-6F68-4698-6622C2B1FFAC}"/>
          </ac:spMkLst>
        </pc:spChg>
        <pc:spChg chg="mod">
          <ac:chgData name="Rasmussen, Susanne" userId="0bd74171-9339-45ee-b4ef-ce827adfd046" providerId="ADAL" clId="{9A7DD9CE-4C06-48AB-9E64-1F168ED79126}" dt="2023-07-07T13:57:37.803" v="349" actId="1076"/>
          <ac:spMkLst>
            <pc:docMk/>
            <pc:sldMk cId="1963271544" sldId="1132"/>
            <ac:spMk id="36" creationId="{6FB8B396-EED3-716E-D977-D502528D3820}"/>
          </ac:spMkLst>
        </pc:spChg>
        <pc:spChg chg="del mod">
          <ac:chgData name="Rasmussen, Susanne" userId="0bd74171-9339-45ee-b4ef-ce827adfd046" providerId="ADAL" clId="{9A7DD9CE-4C06-48AB-9E64-1F168ED79126}" dt="2023-07-07T13:56:43.933" v="302" actId="478"/>
          <ac:spMkLst>
            <pc:docMk/>
            <pc:sldMk cId="1963271544" sldId="1132"/>
            <ac:spMk id="37" creationId="{0ABA9CF4-B889-EF54-9B25-A0E620A313BB}"/>
          </ac:spMkLst>
        </pc:spChg>
        <pc:spChg chg="del">
          <ac:chgData name="Rasmussen, Susanne" userId="0bd74171-9339-45ee-b4ef-ce827adfd046" providerId="ADAL" clId="{9A7DD9CE-4C06-48AB-9E64-1F168ED79126}" dt="2023-07-07T13:56:49.698" v="305" actId="478"/>
          <ac:spMkLst>
            <pc:docMk/>
            <pc:sldMk cId="1963271544" sldId="1132"/>
            <ac:spMk id="38" creationId="{1FC56601-DDBB-6B00-5935-D6880BDC64F4}"/>
          </ac:spMkLst>
        </pc:spChg>
        <pc:spChg chg="del">
          <ac:chgData name="Rasmussen, Susanne" userId="0bd74171-9339-45ee-b4ef-ce827adfd046" providerId="ADAL" clId="{9A7DD9CE-4C06-48AB-9E64-1F168ED79126}" dt="2023-07-07T13:56:52.873" v="306" actId="478"/>
          <ac:spMkLst>
            <pc:docMk/>
            <pc:sldMk cId="1963271544" sldId="1132"/>
            <ac:spMk id="39" creationId="{26875C22-5238-98F0-EAAA-97CC34537A61}"/>
          </ac:spMkLst>
        </pc:spChg>
        <pc:spChg chg="mod">
          <ac:chgData name="Rasmussen, Susanne" userId="0bd74171-9339-45ee-b4ef-ce827adfd046" providerId="ADAL" clId="{9A7DD9CE-4C06-48AB-9E64-1F168ED79126}" dt="2023-07-07T13:57:05.914" v="329" actId="20577"/>
          <ac:spMkLst>
            <pc:docMk/>
            <pc:sldMk cId="1963271544" sldId="1132"/>
            <ac:spMk id="41" creationId="{704DE6C9-AC7E-1F98-3669-B39F0EE75E90}"/>
          </ac:spMkLst>
        </pc:spChg>
        <pc:spChg chg="mod">
          <ac:chgData name="Rasmussen, Susanne" userId="0bd74171-9339-45ee-b4ef-ce827adfd046" providerId="ADAL" clId="{9A7DD9CE-4C06-48AB-9E64-1F168ED79126}" dt="2023-07-07T13:57:24.683" v="348" actId="20577"/>
          <ac:spMkLst>
            <pc:docMk/>
            <pc:sldMk cId="1963271544" sldId="1132"/>
            <ac:spMk id="43" creationId="{6B9F7C1F-C9E0-0271-6B62-C62315ADA57A}"/>
          </ac:spMkLst>
        </pc:spChg>
        <pc:picChg chg="del">
          <ac:chgData name="Rasmussen, Susanne" userId="0bd74171-9339-45ee-b4ef-ce827adfd046" providerId="ADAL" clId="{9A7DD9CE-4C06-48AB-9E64-1F168ED79126}" dt="2023-07-07T14:54:07.770" v="1734" actId="478"/>
          <ac:picMkLst>
            <pc:docMk/>
            <pc:sldMk cId="1963271544" sldId="1132"/>
            <ac:picMk id="29" creationId="{AC002397-621C-9D22-968A-0F8F3BECC236}"/>
          </ac:picMkLst>
        </pc:picChg>
        <pc:picChg chg="del">
          <ac:chgData name="Rasmussen, Susanne" userId="0bd74171-9339-45ee-b4ef-ce827adfd046" providerId="ADAL" clId="{9A7DD9CE-4C06-48AB-9E64-1F168ED79126}" dt="2023-07-07T13:56:05.060" v="275" actId="478"/>
          <ac:picMkLst>
            <pc:docMk/>
            <pc:sldMk cId="1963271544" sldId="1132"/>
            <ac:picMk id="40" creationId="{C43D7905-F9FB-D8C2-4013-0844646D3571}"/>
          </ac:picMkLst>
        </pc:picChg>
        <pc:picChg chg="del">
          <ac:chgData name="Rasmussen, Susanne" userId="0bd74171-9339-45ee-b4ef-ce827adfd046" providerId="ADAL" clId="{9A7DD9CE-4C06-48AB-9E64-1F168ED79126}" dt="2023-07-07T13:56:07.226" v="276" actId="478"/>
          <ac:picMkLst>
            <pc:docMk/>
            <pc:sldMk cId="1963271544" sldId="1132"/>
            <ac:picMk id="42" creationId="{442414D0-CD4B-7890-03C2-880A3199594A}"/>
          </ac:picMkLst>
        </pc:picChg>
        <pc:picChg chg="mod">
          <ac:chgData name="Rasmussen, Susanne" userId="0bd74171-9339-45ee-b4ef-ce827adfd046" providerId="ADAL" clId="{9A7DD9CE-4C06-48AB-9E64-1F168ED79126}" dt="2023-07-07T13:57:43.316" v="350" actId="1076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Rasmussen, Susanne" userId="0bd74171-9339-45ee-b4ef-ce827adfd046" providerId="ADAL" clId="{9A7DD9CE-4C06-48AB-9E64-1F168ED79126}" dt="2023-07-07T13:56:10.715" v="277" actId="478"/>
          <ac:picMkLst>
            <pc:docMk/>
            <pc:sldMk cId="1963271544" sldId="1132"/>
            <ac:picMk id="1026" creationId="{73855049-45F5-7C24-3812-47BA5445E91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add del mod">
              <pc226:chgData name="Rasmussen, Susanne" userId="0bd74171-9339-45ee-b4ef-ce827adfd046" providerId="ADAL" clId="{9A7DD9CE-4C06-48AB-9E64-1F168ED79126}" dt="2023-07-10T13:49:21.662" v="194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54:58.744" v="1753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  <pc:sldChg chg="modSp add mod addCm modCm">
        <pc:chgData name="Rasmussen, Susanne" userId="0bd74171-9339-45ee-b4ef-ce827adfd046" providerId="ADAL" clId="{9A7DD9CE-4C06-48AB-9E64-1F168ED79126}" dt="2023-07-10T19:47:07.839" v="1988" actId="1076"/>
        <pc:sldMkLst>
          <pc:docMk/>
          <pc:sldMk cId="3474700355" sldId="1958"/>
        </pc:sldMkLst>
        <pc:spChg chg="mod">
          <ac:chgData name="Rasmussen, Susanne" userId="0bd74171-9339-45ee-b4ef-ce827adfd046" providerId="ADAL" clId="{9A7DD9CE-4C06-48AB-9E64-1F168ED79126}" dt="2023-07-06T19:58:40.762" v="113" actId="255"/>
          <ac:spMkLst>
            <pc:docMk/>
            <pc:sldMk cId="3474700355" sldId="1958"/>
            <ac:spMk id="3" creationId="{00000000-0000-0000-0000-000000000000}"/>
          </ac:spMkLst>
        </pc:spChg>
        <pc:spChg chg="mod">
          <ac:chgData name="Rasmussen, Susanne" userId="0bd74171-9339-45ee-b4ef-ce827adfd046" providerId="ADAL" clId="{9A7DD9CE-4C06-48AB-9E64-1F168ED79126}" dt="2023-07-10T19:47:07.839" v="1988" actId="1076"/>
          <ac:spMkLst>
            <pc:docMk/>
            <pc:sldMk cId="3474700355" sldId="1958"/>
            <ac:spMk id="14" creationId="{9C52EBCC-05CF-19D1-CA36-2D2D0F98314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Rasmussen, Susanne" userId="0bd74171-9339-45ee-b4ef-ce827adfd046" providerId="ADAL" clId="{9A7DD9CE-4C06-48AB-9E64-1F168ED79126}" dt="2023-07-10T16:07:21.221" v="1948" actId="2056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3:54:22.992" v="271" actId="47"/>
        <pc:sldMkLst>
          <pc:docMk/>
          <pc:sldMk cId="1053603940" sldId="1959"/>
        </pc:sldMkLst>
      </pc:sldChg>
      <pc:sldChg chg="modSp new mod ord addCm">
        <pc:chgData name="Rasmussen, Susanne" userId="0bd74171-9339-45ee-b4ef-ce827adfd046" providerId="ADAL" clId="{9A7DD9CE-4C06-48AB-9E64-1F168ED79126}" dt="2023-07-07T14:22:10.800" v="948"/>
        <pc:sldMkLst>
          <pc:docMk/>
          <pc:sldMk cId="2430331712" sldId="1959"/>
        </pc:sldMkLst>
        <pc:spChg chg="mod">
          <ac:chgData name="Rasmussen, Susanne" userId="0bd74171-9339-45ee-b4ef-ce827adfd046" providerId="ADAL" clId="{9A7DD9CE-4C06-48AB-9E64-1F168ED79126}" dt="2023-07-07T14:08:18.846" v="397" actId="20577"/>
          <ac:spMkLst>
            <pc:docMk/>
            <pc:sldMk cId="2430331712" sldId="1959"/>
            <ac:spMk id="2" creationId="{EF02FA0B-7DF3-377C-E6DD-58B3DDD23032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Rasmussen, Susanne" userId="0bd74171-9339-45ee-b4ef-ce827adfd046" providerId="ADAL" clId="{9A7DD9CE-4C06-48AB-9E64-1F168ED79126}" dt="2023-07-07T14:22:10.800" v="948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</pc226:cmChg>
          </p:ext>
        </pc:extLst>
      </pc:sldChg>
      <pc:sldChg chg="new del">
        <pc:chgData name="Rasmussen, Susanne" userId="0bd74171-9339-45ee-b4ef-ce827adfd046" providerId="ADAL" clId="{9A7DD9CE-4C06-48AB-9E64-1F168ED79126}" dt="2023-07-07T14:04:08.472" v="379" actId="680"/>
        <pc:sldMkLst>
          <pc:docMk/>
          <pc:sldMk cId="2884284115" sldId="1959"/>
        </pc:sldMkLst>
      </pc:sldChg>
      <pc:sldChg chg="modSp new mod">
        <pc:chgData name="Rasmussen, Susanne" userId="0bd74171-9339-45ee-b4ef-ce827adfd046" providerId="ADAL" clId="{9A7DD9CE-4C06-48AB-9E64-1F168ED79126}" dt="2023-07-07T14:13:32.174" v="598" actId="20577"/>
        <pc:sldMkLst>
          <pc:docMk/>
          <pc:sldMk cId="2586051300" sldId="1960"/>
        </pc:sldMkLst>
        <pc:spChg chg="mod">
          <ac:chgData name="Rasmussen, Susanne" userId="0bd74171-9339-45ee-b4ef-ce827adfd046" providerId="ADAL" clId="{9A7DD9CE-4C06-48AB-9E64-1F168ED79126}" dt="2023-07-07T14:13:32.174" v="598" actId="20577"/>
          <ac:spMkLst>
            <pc:docMk/>
            <pc:sldMk cId="2586051300" sldId="1960"/>
            <ac:spMk id="2" creationId="{EA54E674-98BE-F547-F05C-BFA2BDCDE48C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4:05.294" v="620" actId="20577"/>
        <pc:sldMkLst>
          <pc:docMk/>
          <pc:sldMk cId="215532766" sldId="1961"/>
        </pc:sldMkLst>
        <pc:spChg chg="mod">
          <ac:chgData name="Rasmussen, Susanne" userId="0bd74171-9339-45ee-b4ef-ce827adfd046" providerId="ADAL" clId="{9A7DD9CE-4C06-48AB-9E64-1F168ED79126}" dt="2023-07-07T14:14:05.294" v="620" actId="20577"/>
          <ac:spMkLst>
            <pc:docMk/>
            <pc:sldMk cId="215532766" sldId="1961"/>
            <ac:spMk id="2" creationId="{0CE8F6E8-232D-EC94-A4BD-B35E9920B88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16:00.455" v="736" actId="20577"/>
        <pc:sldMkLst>
          <pc:docMk/>
          <pc:sldMk cId="3992210531" sldId="1962"/>
        </pc:sldMkLst>
        <pc:spChg chg="mod">
          <ac:chgData name="Rasmussen, Susanne" userId="0bd74171-9339-45ee-b4ef-ce827adfd046" providerId="ADAL" clId="{9A7DD9CE-4C06-48AB-9E64-1F168ED79126}" dt="2023-07-07T14:16:00.455" v="736" actId="20577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Rasmussen, Susanne" userId="0bd74171-9339-45ee-b4ef-ce827adfd046" providerId="ADAL" clId="{9A7DD9CE-4C06-48AB-9E64-1F168ED79126}" dt="2023-07-07T14:15:33.949" v="710" actId="20577"/>
          <ac:spMkLst>
            <pc:docMk/>
            <pc:sldMk cId="3992210531" sldId="1962"/>
            <ac:spMk id="3" creationId="{2088BC24-1734-6419-1D44-083DDAA0362A}"/>
          </ac:spMkLst>
        </pc:spChg>
      </pc:sldChg>
      <pc:sldChg chg="modSp new mod ord">
        <pc:chgData name="Rasmussen, Susanne" userId="0bd74171-9339-45ee-b4ef-ce827adfd046" providerId="ADAL" clId="{9A7DD9CE-4C06-48AB-9E64-1F168ED79126}" dt="2023-07-07T14:53:58.780" v="1733" actId="20578"/>
        <pc:sldMkLst>
          <pc:docMk/>
          <pc:sldMk cId="4255861837" sldId="1963"/>
        </pc:sldMkLst>
        <pc:spChg chg="mod">
          <ac:chgData name="Rasmussen, Susanne" userId="0bd74171-9339-45ee-b4ef-ce827adfd046" providerId="ADAL" clId="{9A7DD9CE-4C06-48AB-9E64-1F168ED79126}" dt="2023-07-07T14:15:47.321" v="720" actId="20577"/>
          <ac:spMkLst>
            <pc:docMk/>
            <pc:sldMk cId="4255861837" sldId="1963"/>
            <ac:spMk id="2" creationId="{CC9D4750-C48F-670C-D69A-E66A407DCA40}"/>
          </ac:spMkLst>
        </pc:spChg>
      </pc:sldChg>
      <pc:sldChg chg="modSp new mod">
        <pc:chgData name="Rasmussen, Susanne" userId="0bd74171-9339-45ee-b4ef-ce827adfd046" providerId="ADAL" clId="{9A7DD9CE-4C06-48AB-9E64-1F168ED79126}" dt="2023-07-07T14:23:04.637" v="1088" actId="20577"/>
        <pc:sldMkLst>
          <pc:docMk/>
          <pc:sldMk cId="738356794" sldId="1965"/>
        </pc:sldMkLst>
        <pc:spChg chg="mod">
          <ac:chgData name="Rasmussen, Susanne" userId="0bd74171-9339-45ee-b4ef-ce827adfd046" providerId="ADAL" clId="{9A7DD9CE-4C06-48AB-9E64-1F168ED79126}" dt="2023-07-07T14:23:04.637" v="1088" actId="20577"/>
          <ac:spMkLst>
            <pc:docMk/>
            <pc:sldMk cId="738356794" sldId="1965"/>
            <ac:spMk id="2" creationId="{9C6D02C6-5C3E-B2A3-3E7C-A5EA0958B6DE}"/>
          </ac:spMkLst>
        </pc:spChg>
      </pc:sldChg>
      <pc:sldChg chg="modSp mod">
        <pc:chgData name="Rasmussen, Susanne" userId="0bd74171-9339-45ee-b4ef-ce827adfd046" providerId="ADAL" clId="{9A7DD9CE-4C06-48AB-9E64-1F168ED79126}" dt="2023-07-10T20:02:18.645" v="2146" actId="20577"/>
        <pc:sldMkLst>
          <pc:docMk/>
          <pc:sldMk cId="1389041451" sldId="1969"/>
        </pc:sldMkLst>
        <pc:spChg chg="mod">
          <ac:chgData name="Rasmussen, Susanne" userId="0bd74171-9339-45ee-b4ef-ce827adfd046" providerId="ADAL" clId="{9A7DD9CE-4C06-48AB-9E64-1F168ED79126}" dt="2023-07-10T20:02:18.645" v="2146" actId="20577"/>
          <ac:spMkLst>
            <pc:docMk/>
            <pc:sldMk cId="1389041451" sldId="1969"/>
            <ac:spMk id="11" creationId="{80375151-8B20-3D8C-FEBF-EF4330089FFA}"/>
          </ac:spMkLst>
        </pc:spChg>
      </pc:sldChg>
      <pc:sldChg chg="modSp mod">
        <pc:chgData name="Rasmussen, Susanne" userId="0bd74171-9339-45ee-b4ef-ce827adfd046" providerId="ADAL" clId="{9A7DD9CE-4C06-48AB-9E64-1F168ED79126}" dt="2023-07-10T20:26:38.510" v="2304" actId="20577"/>
        <pc:sldMkLst>
          <pc:docMk/>
          <pc:sldMk cId="472625034" sldId="1971"/>
        </pc:sldMkLst>
        <pc:spChg chg="mod">
          <ac:chgData name="Rasmussen, Susanne" userId="0bd74171-9339-45ee-b4ef-ce827adfd046" providerId="ADAL" clId="{9A7DD9CE-4C06-48AB-9E64-1F168ED79126}" dt="2023-07-10T20:26:38.510" v="2304" actId="20577"/>
          <ac:spMkLst>
            <pc:docMk/>
            <pc:sldMk cId="472625034" sldId="1971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17:09.913" v="2165" actId="20577"/>
        <pc:sldMkLst>
          <pc:docMk/>
          <pc:sldMk cId="1745514758" sldId="1974"/>
        </pc:sldMkLst>
        <pc:spChg chg="mod">
          <ac:chgData name="Rasmussen, Susanne" userId="0bd74171-9339-45ee-b4ef-ce827adfd046" providerId="ADAL" clId="{9A7DD9CE-4C06-48AB-9E64-1F168ED79126}" dt="2023-07-10T20:17:09.913" v="2165" actId="20577"/>
          <ac:spMkLst>
            <pc:docMk/>
            <pc:sldMk cId="1745514758" sldId="1974"/>
            <ac:spMk id="3" creationId="{06AC962A-FABE-4F14-91E7-A91AD417ADFF}"/>
          </ac:spMkLst>
        </pc:spChg>
      </pc:sldChg>
      <pc:sldChg chg="modSp mod">
        <pc:chgData name="Rasmussen, Susanne" userId="0bd74171-9339-45ee-b4ef-ce827adfd046" providerId="ADAL" clId="{9A7DD9CE-4C06-48AB-9E64-1F168ED79126}" dt="2023-07-10T20:22:43.005" v="2200" actId="115"/>
        <pc:sldMkLst>
          <pc:docMk/>
          <pc:sldMk cId="2184168918" sldId="1975"/>
        </pc:sldMkLst>
        <pc:spChg chg="mod">
          <ac:chgData name="Rasmussen, Susanne" userId="0bd74171-9339-45ee-b4ef-ce827adfd046" providerId="ADAL" clId="{9A7DD9CE-4C06-48AB-9E64-1F168ED79126}" dt="2023-07-10T20:21:38.159" v="2182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2:43.005" v="2200" actId="115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Rasmussen, Susanne" userId="0bd74171-9339-45ee-b4ef-ce827adfd046" providerId="ADAL" clId="{9A7DD9CE-4C06-48AB-9E64-1F168ED79126}" dt="2023-07-10T20:21:16.574" v="2169" actId="1076"/>
          <ac:spMkLst>
            <pc:docMk/>
            <pc:sldMk cId="2184168918" sldId="1975"/>
            <ac:spMk id="6" creationId="{0038D609-7001-4947-92BB-A379E0414168}"/>
          </ac:spMkLst>
        </pc:spChg>
      </pc:sldChg>
      <pc:sldChg chg="modSp mod">
        <pc:chgData name="Rasmussen, Susanne" userId="0bd74171-9339-45ee-b4ef-ce827adfd046" providerId="ADAL" clId="{9A7DD9CE-4C06-48AB-9E64-1F168ED79126}" dt="2023-07-10T20:26:03.261" v="2299" actId="20577"/>
        <pc:sldMkLst>
          <pc:docMk/>
          <pc:sldMk cId="1562900042" sldId="1976"/>
        </pc:sldMkLst>
        <pc:spChg chg="mod">
          <ac:chgData name="Rasmussen, Susanne" userId="0bd74171-9339-45ee-b4ef-ce827adfd046" providerId="ADAL" clId="{9A7DD9CE-4C06-48AB-9E64-1F168ED79126}" dt="2023-07-10T20:26:03.261" v="2299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Rasmussen, Susanne" userId="0bd74171-9339-45ee-b4ef-ce827adfd046" providerId="ADAL" clId="{9A7DD9CE-4C06-48AB-9E64-1F168ED79126}" dt="2023-07-10T20:25:11.008" v="2287" actId="6549"/>
          <ac:spMkLst>
            <pc:docMk/>
            <pc:sldMk cId="1562900042" sldId="1976"/>
            <ac:spMk id="3" creationId="{06AC962A-FABE-4F14-91E7-A91AD417ADFF}"/>
          </ac:spMkLst>
        </pc:spChg>
      </pc:sldChg>
      <pc:sldMasterChg chg="add del addSldLayout delSldLayout">
        <pc:chgData name="Rasmussen, Susanne" userId="0bd74171-9339-45ee-b4ef-ce827adfd046" providerId="ADAL" clId="{9A7DD9CE-4C06-48AB-9E64-1F168ED79126}" dt="2023-07-07T14:04:40.753" v="383" actId="2696"/>
        <pc:sldMasterMkLst>
          <pc:docMk/>
          <pc:sldMasterMk cId="723420972" sldId="2147483685"/>
        </pc:sldMasterMkLst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217919563" sldId="2147483686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87513814" sldId="2147483687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01841186" sldId="2147483688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3091132" sldId="2147483689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864693851" sldId="2147483690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145278145" sldId="2147483691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1918431508" sldId="2147483692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486642063" sldId="2147483693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150040562" sldId="2147483694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2957499613" sldId="2147483695"/>
          </pc:sldLayoutMkLst>
        </pc:sldLayoutChg>
        <pc:sldLayoutChg chg="add del">
          <pc:chgData name="Rasmussen, Susanne" userId="0bd74171-9339-45ee-b4ef-ce827adfd046" providerId="ADAL" clId="{9A7DD9CE-4C06-48AB-9E64-1F168ED79126}" dt="2023-07-07T14:04:40.753" v="383" actId="2696"/>
          <pc:sldLayoutMkLst>
            <pc:docMk/>
            <pc:sldMasterMk cId="723420972" sldId="2147483685"/>
            <pc:sldLayoutMk cId="3288134071" sldId="2147483696"/>
          </pc:sldLayoutMkLst>
        </pc:sldLayoutChg>
      </pc:sldMasterChg>
    </pc:docChg>
  </pc:docChgLst>
  <pc:docChgLst>
    <pc:chgData name="Rasmussen, Susanne" userId="S::srasmussen@cambridgema.gov::0bd74171-9339-45ee-b4ef-ce827adfd046" providerId="AD" clId="Web-{869CF6D6-46B0-29D9-8935-6925DBD103E0}"/>
    <pc:docChg chg="delSld">
      <pc:chgData name="Rasmussen, Susanne" userId="S::srasmussen@cambridgema.gov::0bd74171-9339-45ee-b4ef-ce827adfd046" providerId="AD" clId="Web-{869CF6D6-46B0-29D9-8935-6925DBD103E0}" dt="2023-07-07T18:04:24.348" v="3"/>
      <pc:docMkLst>
        <pc:docMk/>
      </pc:docMkLst>
      <pc:sldChg chg="del">
        <pc:chgData name="Rasmussen, Susanne" userId="S::srasmussen@cambridgema.gov::0bd74171-9339-45ee-b4ef-ce827adfd046" providerId="AD" clId="Web-{869CF6D6-46B0-29D9-8935-6925DBD103E0}" dt="2023-07-07T18:04:24.348" v="3"/>
        <pc:sldMkLst>
          <pc:docMk/>
          <pc:sldMk cId="1155239185" sldId="299"/>
        </pc:sldMkLst>
      </pc:sldChg>
      <pc:sldChg chg="delCm">
        <pc:chgData name="Rasmussen, Susanne" userId="S::srasmussen@cambridgema.gov::0bd74171-9339-45ee-b4ef-ce827adfd046" providerId="AD" clId="Web-{869CF6D6-46B0-29D9-8935-6925DBD103E0}" dt="2023-07-07T18:04:10.910" v="2"/>
        <pc:sldMkLst>
          <pc:docMk/>
          <pc:sldMk cId="813981643" sldId="301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4:10.910" v="2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38.190" v="1"/>
        <pc:sldMkLst>
          <pc:docMk/>
          <pc:sldMk cId="2338493111" sldId="30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38.190" v="1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delCm">
        <pc:chgData name="Rasmussen, Susanne" userId="S::srasmussen@cambridgema.gov::0bd74171-9339-45ee-b4ef-ce827adfd046" providerId="AD" clId="Web-{869CF6D6-46B0-29D9-8935-6925DBD103E0}" dt="2023-07-07T18:03:04.470" v="0"/>
        <pc:sldMkLst>
          <pc:docMk/>
          <pc:sldMk cId="1963271544" sldId="1132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Rasmussen, Susanne" userId="S::srasmussen@cambridgema.gov::0bd74171-9339-45ee-b4ef-ce827adfd046" providerId="AD" clId="Web-{869CF6D6-46B0-29D9-8935-6925DBD103E0}" dt="2023-07-07T18:03:04.470" v="0"/>
              <pc2:cmMkLst xmlns:pc2="http://schemas.microsoft.com/office/powerpoint/2019/9/main/command">
                <pc:docMk/>
                <pc:sldMk cId="1963271544" sldId="1132"/>
                <pc2:cmMk id="{A13E80A7-6CFD-46C4-82A0-FE38D3E55361}"/>
              </pc2:cmMkLst>
            </pc226:cmChg>
          </p:ext>
        </pc:extLst>
      </pc:sldChg>
    </pc:docChg>
  </pc:docChgLst>
  <pc:docChgLst>
    <pc:chgData name="Nadkarni, Nikhil" userId="8cb4e2ce-db3a-48d0-bf6f-d5eb8967a6f9" providerId="ADAL" clId="{3D8AE9CF-11A6-4709-B7E1-28958F68C423}"/>
    <pc:docChg chg="undo redo custSel addSld delSld modSld sldOrd">
      <pc:chgData name="Nadkarni, Nikhil" userId="8cb4e2ce-db3a-48d0-bf6f-d5eb8967a6f9" providerId="ADAL" clId="{3D8AE9CF-11A6-4709-B7E1-28958F68C423}" dt="2023-07-10T20:30:52.204" v="7951" actId="20577"/>
      <pc:docMkLst>
        <pc:docMk/>
      </pc:docMkLst>
      <pc:sldChg chg="delSp modSp mod">
        <pc:chgData name="Nadkarni, Nikhil" userId="8cb4e2ce-db3a-48d0-bf6f-d5eb8967a6f9" providerId="ADAL" clId="{3D8AE9CF-11A6-4709-B7E1-28958F68C423}" dt="2023-07-10T20:21:05.088" v="6665" actId="962"/>
        <pc:sldMkLst>
          <pc:docMk/>
          <pc:sldMk cId="1323482831" sldId="264"/>
        </pc:sldMkLst>
        <pc:spChg chg="mod">
          <ac:chgData name="Nadkarni, Nikhil" userId="8cb4e2ce-db3a-48d0-bf6f-d5eb8967a6f9" providerId="ADAL" clId="{3D8AE9CF-11A6-4709-B7E1-28958F68C423}" dt="2023-07-07T16:53:38.700" v="3" actId="20577"/>
          <ac:spMkLst>
            <pc:docMk/>
            <pc:sldMk cId="1323482831" sldId="264"/>
            <ac:spMk id="2" creationId="{75B90E77-7E96-13CD-A0C5-93F1CBBC75ED}"/>
          </ac:spMkLst>
        </pc:spChg>
        <pc:spChg chg="mod">
          <ac:chgData name="Nadkarni, Nikhil" userId="8cb4e2ce-db3a-48d0-bf6f-d5eb8967a6f9" providerId="ADAL" clId="{3D8AE9CF-11A6-4709-B7E1-28958F68C423}" dt="2023-07-10T20:21:05.088" v="6665" actId="962"/>
          <ac:spMkLst>
            <pc:docMk/>
            <pc:sldMk cId="1323482831" sldId="264"/>
            <ac:spMk id="3" creationId="{01F86F2B-DD5A-C2FE-BD8E-43810D315F14}"/>
          </ac:spMkLst>
        </pc:spChg>
        <pc:spChg chg="del">
          <ac:chgData name="Nadkarni, Nikhil" userId="8cb4e2ce-db3a-48d0-bf6f-d5eb8967a6f9" providerId="ADAL" clId="{3D8AE9CF-11A6-4709-B7E1-28958F68C423}" dt="2023-07-10T20:20:42.202" v="6617" actId="478"/>
          <ac:spMkLst>
            <pc:docMk/>
            <pc:sldMk cId="1323482831" sldId="264"/>
            <ac:spMk id="9" creationId="{00000000-0000-0000-0000-000000000000}"/>
          </ac:spMkLst>
        </pc:spChg>
        <pc:spChg chg="mod">
          <ac:chgData name="Nadkarni, Nikhil" userId="8cb4e2ce-db3a-48d0-bf6f-d5eb8967a6f9" providerId="ADAL" clId="{3D8AE9CF-11A6-4709-B7E1-28958F68C423}" dt="2023-07-10T20:19:09.259" v="6535" actId="33553"/>
          <ac:spMkLst>
            <pc:docMk/>
            <pc:sldMk cId="1323482831" sldId="264"/>
            <ac:spMk id="15" creationId="{C326D269-7F41-4E44-8A13-AE1B695E8677}"/>
          </ac:spMkLst>
        </pc:spChg>
        <pc:spChg chg="mod">
          <ac:chgData name="Nadkarni, Nikhil" userId="8cb4e2ce-db3a-48d0-bf6f-d5eb8967a6f9" providerId="ADAL" clId="{3D8AE9CF-11A6-4709-B7E1-28958F68C423}" dt="2023-07-10T20:21:02.321" v="6664" actId="962"/>
          <ac:spMkLst>
            <pc:docMk/>
            <pc:sldMk cId="1323482831" sldId="264"/>
            <ac:spMk id="22" creationId="{D9793570-47BE-49A6-A6D0-DC7D984EFEBE}"/>
          </ac:spMkLst>
        </pc:spChg>
        <pc:picChg chg="mod">
          <ac:chgData name="Nadkarni, Nikhil" userId="8cb4e2ce-db3a-48d0-bf6f-d5eb8967a6f9" providerId="ADAL" clId="{3D8AE9CF-11A6-4709-B7E1-28958F68C423}" dt="2023-07-10T20:20:49.853" v="6645" actId="962"/>
          <ac:picMkLst>
            <pc:docMk/>
            <pc:sldMk cId="1323482831" sldId="264"/>
            <ac:picMk id="4" creationId="{6D811143-9518-4082-8E3D-458C3A920201}"/>
          </ac:picMkLst>
        </pc:picChg>
        <pc:picChg chg="mod">
          <ac:chgData name="Nadkarni, Nikhil" userId="8cb4e2ce-db3a-48d0-bf6f-d5eb8967a6f9" providerId="ADAL" clId="{3D8AE9CF-11A6-4709-B7E1-28958F68C423}" dt="2023-07-10T20:20:54.720" v="6663" actId="962"/>
          <ac:picMkLst>
            <pc:docMk/>
            <pc:sldMk cId="1323482831" sldId="264"/>
            <ac:picMk id="6" creationId="{26674E0B-912D-4C98-8001-D49400E18B3C}"/>
          </ac:picMkLst>
        </pc:picChg>
        <pc:picChg chg="mod">
          <ac:chgData name="Nadkarni, Nikhil" userId="8cb4e2ce-db3a-48d0-bf6f-d5eb8967a6f9" providerId="ADAL" clId="{3D8AE9CF-11A6-4709-B7E1-28958F68C423}" dt="2023-07-10T20:20:35.040" v="6616" actId="962"/>
          <ac:picMkLst>
            <pc:docMk/>
            <pc:sldMk cId="1323482831" sldId="264"/>
            <ac:picMk id="21" creationId="{210CE73C-95C7-4522-A7BB-41FC50781EFE}"/>
          </ac:picMkLst>
        </pc:picChg>
      </pc:sldChg>
      <pc:sldChg chg="modSp mod">
        <pc:chgData name="Nadkarni, Nikhil" userId="8cb4e2ce-db3a-48d0-bf6f-d5eb8967a6f9" providerId="ADAL" clId="{3D8AE9CF-11A6-4709-B7E1-28958F68C423}" dt="2023-07-10T20:22:10.450" v="6747" actId="962"/>
        <pc:sldMkLst>
          <pc:docMk/>
          <pc:sldMk cId="443159585" sldId="295"/>
        </pc:sldMkLst>
        <pc:spChg chg="mod">
          <ac:chgData name="Nadkarni, Nikhil" userId="8cb4e2ce-db3a-48d0-bf6f-d5eb8967a6f9" providerId="ADAL" clId="{3D8AE9CF-11A6-4709-B7E1-28958F68C423}" dt="2023-07-10T17:16:32.050" v="2552" actId="1076"/>
          <ac:spMkLst>
            <pc:docMk/>
            <pc:sldMk cId="443159585" sldId="29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2:25.414" v="4056" actId="20577"/>
          <ac:spMkLst>
            <pc:docMk/>
            <pc:sldMk cId="443159585" sldId="29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0.450" v="6747" actId="962"/>
          <ac:spMkLst>
            <pc:docMk/>
            <pc:sldMk cId="443159585" sldId="29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6:52.150" v="4143" actId="20577"/>
          <ac:spMkLst>
            <pc:docMk/>
            <pc:sldMk cId="443159585" sldId="295"/>
            <ac:spMk id="9" creationId="{BADF41E3-B302-4C05-B004-242B35D59BFB}"/>
          </ac:spMkLst>
        </pc:spChg>
      </pc:sldChg>
      <pc:sldChg chg="modSp mod delCm modCm">
        <pc:chgData name="Nadkarni, Nikhil" userId="8cb4e2ce-db3a-48d0-bf6f-d5eb8967a6f9" providerId="ADAL" clId="{3D8AE9CF-11A6-4709-B7E1-28958F68C423}" dt="2023-07-10T20:25:25.622" v="7863" actId="962"/>
        <pc:sldMkLst>
          <pc:docMk/>
          <pc:sldMk cId="2346477064" sldId="296"/>
        </pc:sldMkLst>
        <pc:spChg chg="mod">
          <ac:chgData name="Nadkarni, Nikhil" userId="8cb4e2ce-db3a-48d0-bf6f-d5eb8967a6f9" providerId="ADAL" clId="{3D8AE9CF-11A6-4709-B7E1-28958F68C423}" dt="2023-07-10T19:22:59.916" v="4106" actId="1076"/>
          <ac:spMkLst>
            <pc:docMk/>
            <pc:sldMk cId="2346477064" sldId="29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6:13.534" v="6520" actId="20577"/>
          <ac:spMkLst>
            <pc:docMk/>
            <pc:sldMk cId="2346477064" sldId="29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9.087" v="6746" actId="962"/>
          <ac:spMkLst>
            <pc:docMk/>
            <pc:sldMk cId="2346477064" sldId="29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25:16.795" v="7857" actId="962"/>
          <ac:spMkLst>
            <pc:docMk/>
            <pc:sldMk cId="2346477064" sldId="296"/>
            <ac:spMk id="7" creationId="{97C953B7-6F41-0F4A-2431-0C481CDC431B}"/>
          </ac:spMkLst>
        </pc:spChg>
        <pc:spChg chg="mod">
          <ac:chgData name="Nadkarni, Nikhil" userId="8cb4e2ce-db3a-48d0-bf6f-d5eb8967a6f9" providerId="ADAL" clId="{3D8AE9CF-11A6-4709-B7E1-28958F68C423}" dt="2023-07-10T19:27:01.205" v="4147" actId="20577"/>
          <ac:spMkLst>
            <pc:docMk/>
            <pc:sldMk cId="2346477064" sldId="296"/>
            <ac:spMk id="9" creationId="{BADF41E3-B302-4C05-B004-242B35D59BFB}"/>
          </ac:spMkLst>
        </pc:spChg>
        <pc:spChg chg="mod">
          <ac:chgData name="Nadkarni, Nikhil" userId="8cb4e2ce-db3a-48d0-bf6f-d5eb8967a6f9" providerId="ADAL" clId="{3D8AE9CF-11A6-4709-B7E1-28958F68C423}" dt="2023-07-10T20:25:18.184" v="7858" actId="962"/>
          <ac:spMkLst>
            <pc:docMk/>
            <pc:sldMk cId="2346477064" sldId="296"/>
            <ac:spMk id="11" creationId="{E3FBDFC8-7ED1-B7D1-0592-54303AA322D9}"/>
          </ac:spMkLst>
        </pc:spChg>
        <pc:spChg chg="mod">
          <ac:chgData name="Nadkarni, Nikhil" userId="8cb4e2ce-db3a-48d0-bf6f-d5eb8967a6f9" providerId="ADAL" clId="{3D8AE9CF-11A6-4709-B7E1-28958F68C423}" dt="2023-07-10T20:25:19.471" v="7859" actId="962"/>
          <ac:spMkLst>
            <pc:docMk/>
            <pc:sldMk cId="2346477064" sldId="296"/>
            <ac:spMk id="12" creationId="{9DA9AB8A-E633-E98B-87E1-EB2E0ECE41CB}"/>
          </ac:spMkLst>
        </pc:spChg>
        <pc:spChg chg="mod">
          <ac:chgData name="Nadkarni, Nikhil" userId="8cb4e2ce-db3a-48d0-bf6f-d5eb8967a6f9" providerId="ADAL" clId="{3D8AE9CF-11A6-4709-B7E1-28958F68C423}" dt="2023-07-10T20:25:21.053" v="7860" actId="962"/>
          <ac:spMkLst>
            <pc:docMk/>
            <pc:sldMk cId="2346477064" sldId="296"/>
            <ac:spMk id="13" creationId="{F5C348E1-88C4-DCA4-8D84-07546A3F3CD6}"/>
          </ac:spMkLst>
        </pc:spChg>
        <pc:spChg chg="mod">
          <ac:chgData name="Nadkarni, Nikhil" userId="8cb4e2ce-db3a-48d0-bf6f-d5eb8967a6f9" providerId="ADAL" clId="{3D8AE9CF-11A6-4709-B7E1-28958F68C423}" dt="2023-07-10T20:25:22.792" v="7861" actId="962"/>
          <ac:spMkLst>
            <pc:docMk/>
            <pc:sldMk cId="2346477064" sldId="296"/>
            <ac:spMk id="14" creationId="{9B5F73FF-84A3-76CA-A691-0B774DE4B159}"/>
          </ac:spMkLst>
        </pc:spChg>
        <pc:spChg chg="mod">
          <ac:chgData name="Nadkarni, Nikhil" userId="8cb4e2ce-db3a-48d0-bf6f-d5eb8967a6f9" providerId="ADAL" clId="{3D8AE9CF-11A6-4709-B7E1-28958F68C423}" dt="2023-07-10T20:25:24.114" v="7862" actId="962"/>
          <ac:spMkLst>
            <pc:docMk/>
            <pc:sldMk cId="2346477064" sldId="296"/>
            <ac:spMk id="15" creationId="{6689F8E4-5C11-B8B5-AB53-B485093BFBC1}"/>
          </ac:spMkLst>
        </pc:spChg>
        <pc:spChg chg="mod">
          <ac:chgData name="Nadkarni, Nikhil" userId="8cb4e2ce-db3a-48d0-bf6f-d5eb8967a6f9" providerId="ADAL" clId="{3D8AE9CF-11A6-4709-B7E1-28958F68C423}" dt="2023-07-10T20:25:25.622" v="7863" actId="962"/>
          <ac:spMkLst>
            <pc:docMk/>
            <pc:sldMk cId="2346477064" sldId="296"/>
            <ac:spMk id="16" creationId="{8B3741B8-9816-4D55-42CA-6EFF6F5242E4}"/>
          </ac:spMkLst>
        </pc:spChg>
        <pc:spChg chg="mod">
          <ac:chgData name="Nadkarni, Nikhil" userId="8cb4e2ce-db3a-48d0-bf6f-d5eb8967a6f9" providerId="ADAL" clId="{3D8AE9CF-11A6-4709-B7E1-28958F68C423}" dt="2023-07-10T16:41:49.042" v="967" actId="13926"/>
          <ac:spMkLst>
            <pc:docMk/>
            <pc:sldMk cId="2346477064" sldId="296"/>
            <ac:spMk id="18" creationId="{131F2AF7-DFEE-A6A3-7AB5-0606F78CD218}"/>
          </ac:spMkLst>
        </pc:spChg>
        <pc:picChg chg="mod">
          <ac:chgData name="Nadkarni, Nikhil" userId="8cb4e2ce-db3a-48d0-bf6f-d5eb8967a6f9" providerId="ADAL" clId="{3D8AE9CF-11A6-4709-B7E1-28958F68C423}" dt="2023-07-10T20:25:11.678" v="7856" actId="962"/>
          <ac:picMkLst>
            <pc:docMk/>
            <pc:sldMk cId="2346477064" sldId="296"/>
            <ac:picMk id="4" creationId="{99A41550-23C3-5D52-D831-E73DEE9926C0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 mod">
              <pc226:chgData name="Nadkarni, Nikhil" userId="8cb4e2ce-db3a-48d0-bf6f-d5eb8967a6f9" providerId="ADAL" clId="{3D8AE9CF-11A6-4709-B7E1-28958F68C423}" dt="2023-07-10T19:22:54.388" v="4105"/>
              <pc2:cmMkLst xmlns:pc2="http://schemas.microsoft.com/office/powerpoint/2019/9/main/command">
                <pc:docMk/>
                <pc:sldMk cId="2346477064" sldId="296"/>
                <pc2:cmMk id="{05EFD7A6-C967-4A80-B709-16A98EBF4F0F}"/>
              </pc2:cmMkLst>
            </pc226:cmChg>
          </p:ext>
        </pc:extLst>
      </pc:sldChg>
      <pc:sldChg chg="addSp modSp mod">
        <pc:chgData name="Nadkarni, Nikhil" userId="8cb4e2ce-db3a-48d0-bf6f-d5eb8967a6f9" providerId="ADAL" clId="{3D8AE9CF-11A6-4709-B7E1-28958F68C423}" dt="2023-07-10T20:21:54.322" v="6738" actId="962"/>
        <pc:sldMkLst>
          <pc:docMk/>
          <pc:sldMk cId="3259736002" sldId="297"/>
        </pc:sldMkLst>
        <pc:spChg chg="mod">
          <ac:chgData name="Nadkarni, Nikhil" userId="8cb4e2ce-db3a-48d0-bf6f-d5eb8967a6f9" providerId="ADAL" clId="{3D8AE9CF-11A6-4709-B7E1-28958F68C423}" dt="2023-07-10T19:39:52.421" v="4761" actId="20577"/>
          <ac:spMkLst>
            <pc:docMk/>
            <pc:sldMk cId="3259736002" sldId="29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18:12.158" v="6534" actId="20577"/>
          <ac:spMkLst>
            <pc:docMk/>
            <pc:sldMk cId="3259736002" sldId="297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19:56:01.632" v="5526" actId="20578"/>
          <ac:spMkLst>
            <pc:docMk/>
            <pc:sldMk cId="3259736002" sldId="297"/>
            <ac:spMk id="4" creationId="{96B35D68-DDEC-DA4B-6BA6-36BEC583C076}"/>
          </ac:spMkLst>
        </pc:spChg>
        <pc:spChg chg="mod">
          <ac:chgData name="Nadkarni, Nikhil" userId="8cb4e2ce-db3a-48d0-bf6f-d5eb8967a6f9" providerId="ADAL" clId="{3D8AE9CF-11A6-4709-B7E1-28958F68C423}" dt="2023-07-10T20:21:54.322" v="6738" actId="962"/>
          <ac:spMkLst>
            <pc:docMk/>
            <pc:sldMk cId="3259736002" sldId="29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32:48.886" v="4382" actId="20577"/>
          <ac:spMkLst>
            <pc:docMk/>
            <pc:sldMk cId="3259736002" sldId="297"/>
            <ac:spMk id="9" creationId="{BADF41E3-B302-4C05-B004-242B35D59BFB}"/>
          </ac:spMkLst>
        </pc:spChg>
      </pc:sldChg>
      <pc:sldChg chg="modSp mod">
        <pc:chgData name="Nadkarni, Nikhil" userId="8cb4e2ce-db3a-48d0-bf6f-d5eb8967a6f9" providerId="ADAL" clId="{3D8AE9CF-11A6-4709-B7E1-28958F68C423}" dt="2023-07-10T20:22:00.466" v="6742" actId="962"/>
        <pc:sldMkLst>
          <pc:docMk/>
          <pc:sldMk cId="3755849851" sldId="298"/>
        </pc:sldMkLst>
        <pc:spChg chg="mod">
          <ac:chgData name="Nadkarni, Nikhil" userId="8cb4e2ce-db3a-48d0-bf6f-d5eb8967a6f9" providerId="ADAL" clId="{3D8AE9CF-11A6-4709-B7E1-28958F68C423}" dt="2023-07-10T19:59:35.892" v="5638" actId="5793"/>
          <ac:spMkLst>
            <pc:docMk/>
            <pc:sldMk cId="3755849851" sldId="29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0.466" v="6742" actId="962"/>
          <ac:spMkLst>
            <pc:docMk/>
            <pc:sldMk cId="3755849851" sldId="29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59:39.326" v="5642" actId="20577"/>
          <ac:spMkLst>
            <pc:docMk/>
            <pc:sldMk cId="3755849851" sldId="298"/>
            <ac:spMk id="9" creationId="{BADF41E3-B302-4C05-B004-242B35D59BFB}"/>
          </ac:spMkLst>
        </pc:spChg>
      </pc:sldChg>
      <pc:sldChg chg="modSp mod addCm delCm">
        <pc:chgData name="Nadkarni, Nikhil" userId="8cb4e2ce-db3a-48d0-bf6f-d5eb8967a6f9" providerId="ADAL" clId="{3D8AE9CF-11A6-4709-B7E1-28958F68C423}" dt="2023-07-10T20:25:29.665" v="7865" actId="962"/>
        <pc:sldMkLst>
          <pc:docMk/>
          <pc:sldMk cId="343359655" sldId="300"/>
        </pc:sldMkLst>
        <pc:spChg chg="mod">
          <ac:chgData name="Nadkarni, Nikhil" userId="8cb4e2ce-db3a-48d0-bf6f-d5eb8967a6f9" providerId="ADAL" clId="{3D8AE9CF-11A6-4709-B7E1-28958F68C423}" dt="2023-07-10T19:59:02.493" v="5635" actId="1076"/>
          <ac:spMkLst>
            <pc:docMk/>
            <pc:sldMk cId="343359655" sldId="300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0:54.702" v="5765" actId="20577"/>
          <ac:spMkLst>
            <pc:docMk/>
            <pc:sldMk cId="343359655" sldId="30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9.665" v="7865" actId="962"/>
          <ac:spMkLst>
            <pc:docMk/>
            <pc:sldMk cId="343359655" sldId="300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0.257" v="6499" actId="20577"/>
          <ac:spMkLst>
            <pc:docMk/>
            <pc:sldMk cId="343359655" sldId="300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del">
              <pc226:chgData name="Nadkarni, Nikhil" userId="8cb4e2ce-db3a-48d0-bf6f-d5eb8967a6f9" providerId="ADAL" clId="{3D8AE9CF-11A6-4709-B7E1-28958F68C423}" dt="2023-07-10T16:44:53.966" v="982"/>
              <pc2:cmMkLst xmlns:pc2="http://schemas.microsoft.com/office/powerpoint/2019/9/main/command">
                <pc:docMk/>
                <pc:sldMk cId="343359655" sldId="300"/>
                <pc2:cmMk id="{41A9177B-FBF7-40B5-8F82-BABFC7505810}"/>
              </pc2:cmMkLst>
            </pc226:cmChg>
          </p:ext>
        </pc:extLst>
      </pc:sldChg>
      <pc:sldChg chg="addSp delSp modSp mod ord modCm">
        <pc:chgData name="Nadkarni, Nikhil" userId="8cb4e2ce-db3a-48d0-bf6f-d5eb8967a6f9" providerId="ADAL" clId="{3D8AE9CF-11A6-4709-B7E1-28958F68C423}" dt="2023-07-10T20:30:52.204" v="7951" actId="20577"/>
        <pc:sldMkLst>
          <pc:docMk/>
          <pc:sldMk cId="813981643" sldId="301"/>
        </pc:sldMkLst>
        <pc:spChg chg="del">
          <ac:chgData name="Nadkarni, Nikhil" userId="8cb4e2ce-db3a-48d0-bf6f-d5eb8967a6f9" providerId="ADAL" clId="{3D8AE9CF-11A6-4709-B7E1-28958F68C423}" dt="2023-07-10T16:55:17.200" v="1500" actId="478"/>
          <ac:spMkLst>
            <pc:docMk/>
            <pc:sldMk cId="813981643" sldId="301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30:52.204" v="7951" actId="20577"/>
          <ac:spMkLst>
            <pc:docMk/>
            <pc:sldMk cId="813981643" sldId="301"/>
            <ac:spMk id="3" creationId="{06AC962A-FABE-4F14-91E7-A91AD417ADFF}"/>
          </ac:spMkLst>
        </pc:spChg>
        <pc:spChg chg="add del mod">
          <ac:chgData name="Nadkarni, Nikhil" userId="8cb4e2ce-db3a-48d0-bf6f-d5eb8967a6f9" providerId="ADAL" clId="{3D8AE9CF-11A6-4709-B7E1-28958F68C423}" dt="2023-07-10T16:55:20.894" v="1502" actId="478"/>
          <ac:spMkLst>
            <pc:docMk/>
            <pc:sldMk cId="813981643" sldId="301"/>
            <ac:spMk id="5" creationId="{23DA20E5-DB1C-7DF5-A550-9016408AA50B}"/>
          </ac:spMkLst>
        </pc:spChg>
        <pc:spChg chg="mod">
          <ac:chgData name="Nadkarni, Nikhil" userId="8cb4e2ce-db3a-48d0-bf6f-d5eb8967a6f9" providerId="ADAL" clId="{3D8AE9CF-11A6-4709-B7E1-28958F68C423}" dt="2023-07-10T20:21:57.241" v="6740" actId="962"/>
          <ac:spMkLst>
            <pc:docMk/>
            <pc:sldMk cId="813981643" sldId="301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19:18.427" v="6539" actId="33553"/>
          <ac:spMkLst>
            <pc:docMk/>
            <pc:sldMk cId="813981643" sldId="301"/>
            <ac:spMk id="7" creationId="{E51C2173-2F81-6980-F1ED-A887E798F795}"/>
          </ac:spMkLst>
        </pc:spChg>
        <pc:spChg chg="mod">
          <ac:chgData name="Nadkarni, Nikhil" userId="8cb4e2ce-db3a-48d0-bf6f-d5eb8967a6f9" providerId="ADAL" clId="{3D8AE9CF-11A6-4709-B7E1-28958F68C423}" dt="2023-07-10T19:32:52.645" v="4386" actId="20577"/>
          <ac:spMkLst>
            <pc:docMk/>
            <pc:sldMk cId="813981643" sldId="30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45:31.052" v="191"/>
              <pc2:cmMkLst xmlns:pc2="http://schemas.microsoft.com/office/powerpoint/2019/9/main/command">
                <pc:docMk/>
                <pc:sldMk cId="813981643" sldId="301"/>
                <pc2:cmMk id="{2524FC28-B0DE-4EBD-B50F-DFD147B4412B}"/>
              </pc2:cmMkLst>
              <pc226:cmRplyChg chg="add">
                <pc226:chgData name="Nadkarni, Nikhil" userId="8cb4e2ce-db3a-48d0-bf6f-d5eb8967a6f9" providerId="ADAL" clId="{3D8AE9CF-11A6-4709-B7E1-28958F68C423}" dt="2023-07-07T17:45:31.052" v="191"/>
                <pc2:cmRplyMkLst xmlns:pc2="http://schemas.microsoft.com/office/powerpoint/2019/9/main/command">
                  <pc:docMk/>
                  <pc:sldMk cId="813981643" sldId="301"/>
                  <pc2:cmMk id="{2524FC28-B0DE-4EBD-B50F-DFD147B4412B}"/>
                  <pc2:cmRplyMk id="{AED21DE3-0DDA-4C54-99B4-F411B38C838E}"/>
                </pc2:cmRplyMkLst>
              </pc226:cmRplyChg>
            </pc226:cmChg>
          </p:ext>
        </pc:extLst>
      </pc:sldChg>
      <pc:sldChg chg="modSp mod">
        <pc:chgData name="Nadkarni, Nikhil" userId="8cb4e2ce-db3a-48d0-bf6f-d5eb8967a6f9" providerId="ADAL" clId="{3D8AE9CF-11A6-4709-B7E1-28958F68C423}" dt="2023-07-10T20:21:11.677" v="6668" actId="962"/>
        <pc:sldMkLst>
          <pc:docMk/>
          <pc:sldMk cId="780403188" sldId="302"/>
        </pc:sldMkLst>
        <pc:spChg chg="mod">
          <ac:chgData name="Nadkarni, Nikhil" userId="8cb4e2ce-db3a-48d0-bf6f-d5eb8967a6f9" providerId="ADAL" clId="{3D8AE9CF-11A6-4709-B7E1-28958F68C423}" dt="2023-07-10T17:08:48.025" v="2330" actId="5793"/>
          <ac:spMkLst>
            <pc:docMk/>
            <pc:sldMk cId="780403188" sldId="302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1.677" v="6668" actId="962"/>
          <ac:spMkLst>
            <pc:docMk/>
            <pc:sldMk cId="780403188" sldId="302"/>
            <ac:spMk id="6" creationId="{0038D609-7001-4947-92BB-A379E0414168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3:06.527" v="7154" actId="962"/>
        <pc:sldMkLst>
          <pc:docMk/>
          <pc:sldMk cId="1650613911" sldId="303"/>
        </pc:sldMkLst>
        <pc:spChg chg="mod">
          <ac:chgData name="Nadkarni, Nikhil" userId="8cb4e2ce-db3a-48d0-bf6f-d5eb8967a6f9" providerId="ADAL" clId="{3D8AE9CF-11A6-4709-B7E1-28958F68C423}" dt="2023-07-10T17:52:58.742" v="3055" actId="1076"/>
          <ac:spMkLst>
            <pc:docMk/>
            <pc:sldMk cId="1650613911" sldId="303"/>
            <ac:spMk id="2" creationId="{71ECDFDF-B56B-4C43-BBBF-D35CEE5E475F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4" creationId="{39CAB15A-E557-E834-FDBF-E6E97286C4B5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5" creationId="{1C6C5C92-375C-84E1-8E94-D2AF9314A37B}"/>
          </ac:spMkLst>
        </pc:spChg>
        <pc:spChg chg="mod">
          <ac:chgData name="Nadkarni, Nikhil" userId="8cb4e2ce-db3a-48d0-bf6f-d5eb8967a6f9" providerId="ADAL" clId="{3D8AE9CF-11A6-4709-B7E1-28958F68C423}" dt="2023-07-10T20:21:17.379" v="6671" actId="962"/>
          <ac:spMkLst>
            <pc:docMk/>
            <pc:sldMk cId="1650613911" sldId="303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17:52:48.298" v="3053"/>
          <ac:spMkLst>
            <pc:docMk/>
            <pc:sldMk cId="1650613911" sldId="303"/>
            <ac:spMk id="10" creationId="{B294FC7F-3055-723D-D8CB-28DFC3D1DD68}"/>
          </ac:spMkLst>
        </pc:spChg>
        <pc:spChg chg="mod">
          <ac:chgData name="Nadkarni, Nikhil" userId="8cb4e2ce-db3a-48d0-bf6f-d5eb8967a6f9" providerId="ADAL" clId="{3D8AE9CF-11A6-4709-B7E1-28958F68C423}" dt="2023-07-10T17:52:54.208" v="3054" actId="14100"/>
          <ac:spMkLst>
            <pc:docMk/>
            <pc:sldMk cId="1650613911" sldId="303"/>
            <ac:spMk id="11" creationId="{80375151-8B20-3D8C-FEBF-EF4330089FFA}"/>
          </ac:spMkLst>
        </pc:spChg>
        <pc:graphicFrameChg chg="add mod">
          <ac:chgData name="Nadkarni, Nikhil" userId="8cb4e2ce-db3a-48d0-bf6f-d5eb8967a6f9" providerId="ADAL" clId="{3D8AE9CF-11A6-4709-B7E1-28958F68C423}" dt="2023-07-10T20:23:06.527" v="7154" actId="962"/>
          <ac:graphicFrameMkLst>
            <pc:docMk/>
            <pc:sldMk cId="1650613911" sldId="303"/>
            <ac:graphicFrameMk id="3" creationId="{4D729383-A3E2-ABBC-94AE-375541A950E8}"/>
          </ac:graphicFrameMkLst>
        </pc:graphicFrameChg>
        <pc:picChg chg="del mod">
          <ac:chgData name="Nadkarni, Nikhil" userId="8cb4e2ce-db3a-48d0-bf6f-d5eb8967a6f9" providerId="ADAL" clId="{3D8AE9CF-11A6-4709-B7E1-28958F68C423}" dt="2023-07-10T17:52:47.928" v="3052" actId="478"/>
          <ac:picMkLst>
            <pc:docMk/>
            <pc:sldMk cId="1650613911" sldId="303"/>
            <ac:picMk id="7" creationId="{5DB52DC8-48BD-AB73-3C85-3BDA5B7DF1D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14.175" v="7194" actId="962"/>
        <pc:sldMkLst>
          <pc:docMk/>
          <pc:sldMk cId="1054884385" sldId="304"/>
        </pc:sldMkLst>
        <pc:spChg chg="mod">
          <ac:chgData name="Nadkarni, Nikhil" userId="8cb4e2ce-db3a-48d0-bf6f-d5eb8967a6f9" providerId="ADAL" clId="{3D8AE9CF-11A6-4709-B7E1-28958F68C423}" dt="2023-07-10T17:13:48.622" v="2521" actId="1076"/>
          <ac:spMkLst>
            <pc:docMk/>
            <pc:sldMk cId="1054884385" sldId="30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7:53:38.889" v="3108" actId="20577"/>
          <ac:spMkLst>
            <pc:docMk/>
            <pc:sldMk cId="1054884385" sldId="304"/>
            <ac:spMk id="4" creationId="{DC0520D7-75CC-508B-69FB-965CE40BDC11}"/>
          </ac:spMkLst>
        </pc:spChg>
        <pc:spChg chg="mod">
          <ac:chgData name="Nadkarni, Nikhil" userId="8cb4e2ce-db3a-48d0-bf6f-d5eb8967a6f9" providerId="ADAL" clId="{3D8AE9CF-11A6-4709-B7E1-28958F68C423}" dt="2023-07-10T20:21:19.022" v="6672" actId="962"/>
          <ac:spMkLst>
            <pc:docMk/>
            <pc:sldMk cId="1054884385" sldId="30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3:47.431" v="3112" actId="20577"/>
          <ac:spMkLst>
            <pc:docMk/>
            <pc:sldMk cId="1054884385" sldId="304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14.175" v="7194" actId="962"/>
          <ac:picMkLst>
            <pc:docMk/>
            <pc:sldMk cId="1054884385" sldId="304"/>
            <ac:picMk id="3" creationId="{FAE45911-6294-4543-5D47-8CC65D76669B}"/>
          </ac:picMkLst>
        </pc:picChg>
      </pc:sldChg>
      <pc:sldChg chg="modSp mod">
        <pc:chgData name="Nadkarni, Nikhil" userId="8cb4e2ce-db3a-48d0-bf6f-d5eb8967a6f9" providerId="ADAL" clId="{3D8AE9CF-11A6-4709-B7E1-28958F68C423}" dt="2023-07-10T20:23:36.333" v="7278" actId="962"/>
        <pc:sldMkLst>
          <pc:docMk/>
          <pc:sldMk cId="156447753" sldId="305"/>
        </pc:sldMkLst>
        <pc:spChg chg="mod">
          <ac:chgData name="Nadkarni, Nikhil" userId="8cb4e2ce-db3a-48d0-bf6f-d5eb8967a6f9" providerId="ADAL" clId="{3D8AE9CF-11A6-4709-B7E1-28958F68C423}" dt="2023-07-10T17:54:24.174" v="3210" actId="403"/>
          <ac:spMkLst>
            <pc:docMk/>
            <pc:sldMk cId="156447753" sldId="30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20.603" v="6673" actId="962"/>
          <ac:spMkLst>
            <pc:docMk/>
            <pc:sldMk cId="156447753" sldId="305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7:54:30.153" v="3215" actId="20577"/>
          <ac:spMkLst>
            <pc:docMk/>
            <pc:sldMk cId="156447753" sldId="305"/>
            <ac:spMk id="9" creationId="{BADF41E3-B302-4C05-B004-242B35D59BFB}"/>
          </ac:spMkLst>
        </pc:spChg>
        <pc:picChg chg="mod">
          <ac:chgData name="Nadkarni, Nikhil" userId="8cb4e2ce-db3a-48d0-bf6f-d5eb8967a6f9" providerId="ADAL" clId="{3D8AE9CF-11A6-4709-B7E1-28958F68C423}" dt="2023-07-10T20:23:36.333" v="7278" actId="962"/>
          <ac:picMkLst>
            <pc:docMk/>
            <pc:sldMk cId="156447753" sldId="305"/>
            <ac:picMk id="50" creationId="{A1F8D0D6-16E7-918C-6278-B9522CE6D9E9}"/>
          </ac:picMkLst>
        </pc:picChg>
      </pc:sldChg>
      <pc:sldChg chg="del">
        <pc:chgData name="Nadkarni, Nikhil" userId="8cb4e2ce-db3a-48d0-bf6f-d5eb8967a6f9" providerId="ADAL" clId="{3D8AE9CF-11A6-4709-B7E1-28958F68C423}" dt="2023-07-10T17:55:00.341" v="3219" actId="47"/>
        <pc:sldMkLst>
          <pc:docMk/>
          <pc:sldMk cId="2315025724" sldId="306"/>
        </pc:sldMkLst>
      </pc:sldChg>
      <pc:sldChg chg="addSp delSp modSp mod">
        <pc:chgData name="Nadkarni, Nikhil" userId="8cb4e2ce-db3a-48d0-bf6f-d5eb8967a6f9" providerId="ADAL" clId="{3D8AE9CF-11A6-4709-B7E1-28958F68C423}" dt="2023-07-10T20:24:16.547" v="7458" actId="962"/>
        <pc:sldMkLst>
          <pc:docMk/>
          <pc:sldMk cId="1936964873" sldId="307"/>
        </pc:sldMkLst>
        <pc:spChg chg="mod">
          <ac:chgData name="Nadkarni, Nikhil" userId="8cb4e2ce-db3a-48d0-bf6f-d5eb8967a6f9" providerId="ADAL" clId="{3D8AE9CF-11A6-4709-B7E1-28958F68C423}" dt="2023-07-10T19:04:56.557" v="3407" actId="1076"/>
          <ac:spMkLst>
            <pc:docMk/>
            <pc:sldMk cId="1936964873" sldId="307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14:31.376" v="3725" actId="20577"/>
          <ac:spMkLst>
            <pc:docMk/>
            <pc:sldMk cId="1936964873" sldId="30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7.586" v="6750" actId="962"/>
          <ac:spMkLst>
            <pc:docMk/>
            <pc:sldMk cId="1936964873" sldId="307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32.351" v="3512" actId="20577"/>
          <ac:spMkLst>
            <pc:docMk/>
            <pc:sldMk cId="1936964873" sldId="307"/>
            <ac:spMk id="9" creationId="{BADF41E3-B302-4C05-B004-242B35D59BFB}"/>
          </ac:spMkLst>
        </pc:spChg>
        <pc:picChg chg="add del mod">
          <ac:chgData name="Nadkarni, Nikhil" userId="8cb4e2ce-db3a-48d0-bf6f-d5eb8967a6f9" providerId="ADAL" clId="{3D8AE9CF-11A6-4709-B7E1-28958F68C423}" dt="2023-07-10T19:09:37.275" v="3645" actId="478"/>
          <ac:picMkLst>
            <pc:docMk/>
            <pc:sldMk cId="1936964873" sldId="307"/>
            <ac:picMk id="5" creationId="{5BA58F11-F945-3CA1-B968-9BC0A0E02431}"/>
          </ac:picMkLst>
        </pc:picChg>
        <pc:picChg chg="add del mod">
          <ac:chgData name="Nadkarni, Nikhil" userId="8cb4e2ce-db3a-48d0-bf6f-d5eb8967a6f9" providerId="ADAL" clId="{3D8AE9CF-11A6-4709-B7E1-28958F68C423}" dt="2023-07-10T19:10:31.355" v="3651" actId="478"/>
          <ac:picMkLst>
            <pc:docMk/>
            <pc:sldMk cId="1936964873" sldId="307"/>
            <ac:picMk id="7" creationId="{BD4A3E9F-07AB-8736-8892-147353617FF1}"/>
          </ac:picMkLst>
        </pc:picChg>
        <pc:picChg chg="del">
          <ac:chgData name="Nadkarni, Nikhil" userId="8cb4e2ce-db3a-48d0-bf6f-d5eb8967a6f9" providerId="ADAL" clId="{3D8AE9CF-11A6-4709-B7E1-28958F68C423}" dt="2023-07-10T19:09:36.171" v="3643" actId="478"/>
          <ac:picMkLst>
            <pc:docMk/>
            <pc:sldMk cId="1936964873" sldId="307"/>
            <ac:picMk id="10" creationId="{7DE6C690-F5FC-D904-1697-C4789E2EBE23}"/>
          </ac:picMkLst>
        </pc:picChg>
        <pc:picChg chg="add del mod">
          <ac:chgData name="Nadkarni, Nikhil" userId="8cb4e2ce-db3a-48d0-bf6f-d5eb8967a6f9" providerId="ADAL" clId="{3D8AE9CF-11A6-4709-B7E1-28958F68C423}" dt="2023-07-10T19:14:12.901" v="3676" actId="21"/>
          <ac:picMkLst>
            <pc:docMk/>
            <pc:sldMk cId="1936964873" sldId="307"/>
            <ac:picMk id="12" creationId="{10D0B3D8-B919-3303-1AF9-EBE89B73B546}"/>
          </ac:picMkLst>
        </pc:picChg>
        <pc:picChg chg="del">
          <ac:chgData name="Nadkarni, Nikhil" userId="8cb4e2ce-db3a-48d0-bf6f-d5eb8967a6f9" providerId="ADAL" clId="{3D8AE9CF-11A6-4709-B7E1-28958F68C423}" dt="2023-07-10T16:53:26.075" v="1436" actId="478"/>
          <ac:picMkLst>
            <pc:docMk/>
            <pc:sldMk cId="1936964873" sldId="307"/>
            <ac:picMk id="12" creationId="{803BE485-9682-5C11-1731-755051086CDE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3" creationId="{40152D77-BE39-3662-F7CE-495BAD585A09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4" creationId="{AB7B216B-B7D9-BD5D-F1E1-0C44C36085FA}"/>
          </ac:picMkLst>
        </pc:picChg>
        <pc:picChg chg="add del mod">
          <ac:chgData name="Nadkarni, Nikhil" userId="8cb4e2ce-db3a-48d0-bf6f-d5eb8967a6f9" providerId="ADAL" clId="{3D8AE9CF-11A6-4709-B7E1-28958F68C423}" dt="2023-07-10T19:14:06.985" v="3674"/>
          <ac:picMkLst>
            <pc:docMk/>
            <pc:sldMk cId="1936964873" sldId="307"/>
            <ac:picMk id="15" creationId="{4BFB012A-FF9B-7B83-A6D9-7B73B521CA9C}"/>
          </ac:picMkLst>
        </pc:picChg>
        <pc:picChg chg="del">
          <ac:chgData name="Nadkarni, Nikhil" userId="8cb4e2ce-db3a-48d0-bf6f-d5eb8967a6f9" providerId="ADAL" clId="{3D8AE9CF-11A6-4709-B7E1-28958F68C423}" dt="2023-07-10T19:09:36.875" v="3644" actId="478"/>
          <ac:picMkLst>
            <pc:docMk/>
            <pc:sldMk cId="1936964873" sldId="307"/>
            <ac:picMk id="16" creationId="{91F5EBE7-E239-A197-1C89-9368475D70B7}"/>
          </ac:picMkLst>
        </pc:picChg>
        <pc:picChg chg="add mod">
          <ac:chgData name="Nadkarni, Nikhil" userId="8cb4e2ce-db3a-48d0-bf6f-d5eb8967a6f9" providerId="ADAL" clId="{3D8AE9CF-11A6-4709-B7E1-28958F68C423}" dt="2023-07-10T20:23:59.630" v="7346" actId="962"/>
          <ac:picMkLst>
            <pc:docMk/>
            <pc:sldMk cId="1936964873" sldId="307"/>
            <ac:picMk id="17" creationId="{3C681B0C-2B64-6E7B-C0E0-5ADEFA510BDC}"/>
          </ac:picMkLst>
        </pc:picChg>
        <pc:picChg chg="add mod">
          <ac:chgData name="Nadkarni, Nikhil" userId="8cb4e2ce-db3a-48d0-bf6f-d5eb8967a6f9" providerId="ADAL" clId="{3D8AE9CF-11A6-4709-B7E1-28958F68C423}" dt="2023-07-10T20:24:06.381" v="7398" actId="962"/>
          <ac:picMkLst>
            <pc:docMk/>
            <pc:sldMk cId="1936964873" sldId="307"/>
            <ac:picMk id="18" creationId="{75153018-04CD-37B5-8939-34730B5E95F1}"/>
          </ac:picMkLst>
        </pc:picChg>
        <pc:picChg chg="add del mod">
          <ac:chgData name="Nadkarni, Nikhil" userId="8cb4e2ce-db3a-48d0-bf6f-d5eb8967a6f9" providerId="ADAL" clId="{3D8AE9CF-11A6-4709-B7E1-28958F68C423}" dt="2023-07-10T19:14:38.214" v="3726" actId="21"/>
          <ac:picMkLst>
            <pc:docMk/>
            <pc:sldMk cId="1936964873" sldId="307"/>
            <ac:picMk id="19" creationId="{5014FD3F-28F9-D7E2-EDCE-052E1384B7E8}"/>
          </ac:picMkLst>
        </pc:picChg>
        <pc:picChg chg="add mod ord">
          <ac:chgData name="Nadkarni, Nikhil" userId="8cb4e2ce-db3a-48d0-bf6f-d5eb8967a6f9" providerId="ADAL" clId="{3D8AE9CF-11A6-4709-B7E1-28958F68C423}" dt="2023-07-10T20:24:16.547" v="7458" actId="962"/>
          <ac:picMkLst>
            <pc:docMk/>
            <pc:sldMk cId="1936964873" sldId="307"/>
            <ac:picMk id="21" creationId="{B280E497-EB8D-C881-CA0B-61D000E7EDF7}"/>
          </ac:picMkLst>
        </pc:picChg>
      </pc:sldChg>
      <pc:sldChg chg="modSp mod ord addCm">
        <pc:chgData name="Nadkarni, Nikhil" userId="8cb4e2ce-db3a-48d0-bf6f-d5eb8967a6f9" providerId="ADAL" clId="{3D8AE9CF-11A6-4709-B7E1-28958F68C423}" dt="2023-07-10T20:22:16.080" v="6749" actId="962"/>
        <pc:sldMkLst>
          <pc:docMk/>
          <pc:sldMk cId="2338493111" sldId="308"/>
        </pc:sldMkLst>
        <pc:spChg chg="mod">
          <ac:chgData name="Nadkarni, Nikhil" userId="8cb4e2ce-db3a-48d0-bf6f-d5eb8967a6f9" providerId="ADAL" clId="{3D8AE9CF-11A6-4709-B7E1-28958F68C423}" dt="2023-07-10T17:59:35.764" v="3304" actId="20577"/>
          <ac:spMkLst>
            <pc:docMk/>
            <pc:sldMk cId="2338493111" sldId="308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07:16.941" v="3504" actId="20577"/>
          <ac:spMkLst>
            <pc:docMk/>
            <pc:sldMk cId="2338493111" sldId="30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6.080" v="6749" actId="962"/>
          <ac:spMkLst>
            <pc:docMk/>
            <pc:sldMk cId="2338493111" sldId="308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07:27.822" v="3508" actId="20577"/>
          <ac:spMkLst>
            <pc:docMk/>
            <pc:sldMk cId="2338493111" sldId="308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Nadkarni, Nikhil" userId="8cb4e2ce-db3a-48d0-bf6f-d5eb8967a6f9" providerId="ADAL" clId="{3D8AE9CF-11A6-4709-B7E1-28958F68C423}" dt="2023-07-07T17:41:04.723" v="14"/>
              <pc2:cmMkLst xmlns:pc2="http://schemas.microsoft.com/office/powerpoint/2019/9/main/command">
                <pc:docMk/>
                <pc:sldMk cId="2338493111" sldId="308"/>
                <pc2:cmMk id="{04F58FA7-7559-47E9-805C-3A35D8504660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1:07.890" v="6666" actId="962"/>
        <pc:sldMkLst>
          <pc:docMk/>
          <pc:sldMk cId="1963271544" sldId="1132"/>
        </pc:sldMkLst>
        <pc:spChg chg="add mod">
          <ac:chgData name="Nadkarni, Nikhil" userId="8cb4e2ce-db3a-48d0-bf6f-d5eb8967a6f9" providerId="ADAL" clId="{3D8AE9CF-11A6-4709-B7E1-28958F68C423}" dt="2023-07-10T16:05:23.330" v="436" actId="27636"/>
          <ac:spMkLst>
            <pc:docMk/>
            <pc:sldMk cId="1963271544" sldId="1132"/>
            <ac:spMk id="2" creationId="{5B1EE775-0DD9-9523-89D7-58F9EA9BC236}"/>
          </ac:spMkLst>
        </pc:spChg>
        <pc:spChg chg="del">
          <ac:chgData name="Nadkarni, Nikhil" userId="8cb4e2ce-db3a-48d0-bf6f-d5eb8967a6f9" providerId="ADAL" clId="{3D8AE9CF-11A6-4709-B7E1-28958F68C423}" dt="2023-07-10T16:03:21.177" v="398" actId="478"/>
          <ac:spMkLst>
            <pc:docMk/>
            <pc:sldMk cId="1963271544" sldId="1132"/>
            <ac:spMk id="3" creationId="{5759D7FB-62D6-BB6F-C5C9-3B1CCCF65691}"/>
          </ac:spMkLst>
        </pc:spChg>
        <pc:spChg chg="add mod">
          <ac:chgData name="Nadkarni, Nikhil" userId="8cb4e2ce-db3a-48d0-bf6f-d5eb8967a6f9" providerId="ADAL" clId="{3D8AE9CF-11A6-4709-B7E1-28958F68C423}" dt="2023-07-10T20:19:11.551" v="6536" actId="33553"/>
          <ac:spMkLst>
            <pc:docMk/>
            <pc:sldMk cId="1963271544" sldId="1132"/>
            <ac:spMk id="4" creationId="{9DA8C127-7518-02FF-2670-E6AF73DACDE2}"/>
          </ac:spMkLst>
        </pc:spChg>
        <pc:spChg chg="del">
          <ac:chgData name="Nadkarni, Nikhil" userId="8cb4e2ce-db3a-48d0-bf6f-d5eb8967a6f9" providerId="ADAL" clId="{3D8AE9CF-11A6-4709-B7E1-28958F68C423}" dt="2023-07-10T16:04:55.420" v="424" actId="478"/>
          <ac:spMkLst>
            <pc:docMk/>
            <pc:sldMk cId="1963271544" sldId="1132"/>
            <ac:spMk id="5" creationId="{D8AC20E5-DC45-4CD6-B89A-B6A38FF880E8}"/>
          </ac:spMkLst>
        </pc:spChg>
        <pc:spChg chg="add mod">
          <ac:chgData name="Nadkarni, Nikhil" userId="8cb4e2ce-db3a-48d0-bf6f-d5eb8967a6f9" providerId="ADAL" clId="{3D8AE9CF-11A6-4709-B7E1-28958F68C423}" dt="2023-07-10T20:21:07.890" v="6666" actId="962"/>
          <ac:spMkLst>
            <pc:docMk/>
            <pc:sldMk cId="1963271544" sldId="1132"/>
            <ac:spMk id="7" creationId="{79D560B9-9B58-7233-67C2-65CD20C91461}"/>
          </ac:spMkLst>
        </pc:spChg>
        <pc:spChg chg="add del mod">
          <ac:chgData name="Nadkarni, Nikhil" userId="8cb4e2ce-db3a-48d0-bf6f-d5eb8967a6f9" providerId="ADAL" clId="{3D8AE9CF-11A6-4709-B7E1-28958F68C423}" dt="2023-07-10T16:04:59.528" v="425" actId="478"/>
          <ac:spMkLst>
            <pc:docMk/>
            <pc:sldMk cId="1963271544" sldId="1132"/>
            <ac:spMk id="9" creationId="{E95EDD29-A832-2934-1A8B-96148AA57F61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0" creationId="{A5057488-8D75-303E-AA09-4CB3EA3C2D6F}"/>
          </ac:spMkLst>
        </pc:spChg>
        <pc:spChg chg="add mod">
          <ac:chgData name="Nadkarni, Nikhil" userId="8cb4e2ce-db3a-48d0-bf6f-d5eb8967a6f9" providerId="ADAL" clId="{3D8AE9CF-11A6-4709-B7E1-28958F68C423}" dt="2023-07-10T17:49:24.469" v="3046"/>
          <ac:spMkLst>
            <pc:docMk/>
            <pc:sldMk cId="1963271544" sldId="1132"/>
            <ac:spMk id="11" creationId="{CEA035ED-780D-D8A1-57EC-6AD5BA6B1815}"/>
          </ac:spMkLst>
        </pc:spChg>
        <pc:spChg chg="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26" creationId="{07CE0FFF-B88F-4BF6-A69A-2F7EF781B2CD}"/>
          </ac:spMkLst>
        </pc:spChg>
        <pc:spChg chg="del">
          <ac:chgData name="Nadkarni, Nikhil" userId="8cb4e2ce-db3a-48d0-bf6f-d5eb8967a6f9" providerId="ADAL" clId="{3D8AE9CF-11A6-4709-B7E1-28958F68C423}" dt="2023-07-07T16:54:16.858" v="4" actId="478"/>
          <ac:spMkLst>
            <pc:docMk/>
            <pc:sldMk cId="1963271544" sldId="1132"/>
            <ac:spMk id="27" creationId="{BD5EC4B2-249C-8FC9-B20B-A67FB213FBA3}"/>
          </ac:spMkLst>
        </pc:spChg>
        <pc:spChg chg="del">
          <ac:chgData name="Nadkarni, Nikhil" userId="8cb4e2ce-db3a-48d0-bf6f-d5eb8967a6f9" providerId="ADAL" clId="{3D8AE9CF-11A6-4709-B7E1-28958F68C423}" dt="2023-07-10T16:03:22.938" v="399" actId="478"/>
          <ac:spMkLst>
            <pc:docMk/>
            <pc:sldMk cId="1963271544" sldId="1132"/>
            <ac:spMk id="30" creationId="{7E260FEA-554A-29D6-99FA-2FAD9937CD65}"/>
          </ac:spMkLst>
        </pc:spChg>
        <pc:spChg chg="add del mod">
          <ac:chgData name="Nadkarni, Nikhil" userId="8cb4e2ce-db3a-48d0-bf6f-d5eb8967a6f9" providerId="ADAL" clId="{3D8AE9CF-11A6-4709-B7E1-28958F68C423}" dt="2023-07-10T16:05:30.870" v="437" actId="1076"/>
          <ac:spMkLst>
            <pc:docMk/>
            <pc:sldMk cId="1963271544" sldId="1132"/>
            <ac:spMk id="31" creationId="{303B9770-7DE8-9A95-C80B-6C4BC1773EAF}"/>
          </ac:spMkLst>
        </pc:spChg>
        <pc:spChg chg="del">
          <ac:chgData name="Nadkarni, Nikhil" userId="8cb4e2ce-db3a-48d0-bf6f-d5eb8967a6f9" providerId="ADAL" clId="{3D8AE9CF-11A6-4709-B7E1-28958F68C423}" dt="2023-07-10T16:03:50.852" v="405" actId="478"/>
          <ac:spMkLst>
            <pc:docMk/>
            <pc:sldMk cId="1963271544" sldId="1132"/>
            <ac:spMk id="35" creationId="{57EF2B9E-5D98-FDF3-12C3-55D4D3DE91C0}"/>
          </ac:spMkLst>
        </pc:spChg>
        <pc:spChg chg="del mod">
          <ac:chgData name="Nadkarni, Nikhil" userId="8cb4e2ce-db3a-48d0-bf6f-d5eb8967a6f9" providerId="ADAL" clId="{3D8AE9CF-11A6-4709-B7E1-28958F68C423}" dt="2023-07-07T16:54:26.756" v="7" actId="478"/>
          <ac:spMkLst>
            <pc:docMk/>
            <pc:sldMk cId="1963271544" sldId="1132"/>
            <ac:spMk id="36" creationId="{6FB8B396-EED3-716E-D977-D502528D3820}"/>
          </ac:spMkLst>
        </pc:spChg>
        <pc:spChg chg="del">
          <ac:chgData name="Nadkarni, Nikhil" userId="8cb4e2ce-db3a-48d0-bf6f-d5eb8967a6f9" providerId="ADAL" clId="{3D8AE9CF-11A6-4709-B7E1-28958F68C423}" dt="2023-07-10T16:03:25.917" v="401" actId="478"/>
          <ac:spMkLst>
            <pc:docMk/>
            <pc:sldMk cId="1963271544" sldId="1132"/>
            <ac:spMk id="41" creationId="{704DE6C9-AC7E-1F98-3669-B39F0EE75E90}"/>
          </ac:spMkLst>
        </pc:spChg>
        <pc:spChg chg="del">
          <ac:chgData name="Nadkarni, Nikhil" userId="8cb4e2ce-db3a-48d0-bf6f-d5eb8967a6f9" providerId="ADAL" clId="{3D8AE9CF-11A6-4709-B7E1-28958F68C423}" dt="2023-07-10T16:03:24.407" v="400" actId="478"/>
          <ac:spMkLst>
            <pc:docMk/>
            <pc:sldMk cId="1963271544" sldId="1132"/>
            <ac:spMk id="43" creationId="{6B9F7C1F-C9E0-0271-6B62-C62315ADA57A}"/>
          </ac:spMkLst>
        </pc:spChg>
        <pc:spChg chg="del mod">
          <ac:chgData name="Nadkarni, Nikhil" userId="8cb4e2ce-db3a-48d0-bf6f-d5eb8967a6f9" providerId="ADAL" clId="{3D8AE9CF-11A6-4709-B7E1-28958F68C423}" dt="2023-07-10T16:02:00.986" v="274" actId="478"/>
          <ac:spMkLst>
            <pc:docMk/>
            <pc:sldMk cId="1963271544" sldId="1132"/>
            <ac:spMk id="47" creationId="{34D62E1C-E61F-7556-AD87-5F0899626A87}"/>
          </ac:spMkLst>
        </pc:spChg>
        <pc:picChg chg="del">
          <ac:chgData name="Nadkarni, Nikhil" userId="8cb4e2ce-db3a-48d0-bf6f-d5eb8967a6f9" providerId="ADAL" clId="{3D8AE9CF-11A6-4709-B7E1-28958F68C423}" dt="2023-07-07T16:54:20.481" v="5" actId="478"/>
          <ac:picMkLst>
            <pc:docMk/>
            <pc:sldMk cId="1963271544" sldId="1132"/>
            <ac:picMk id="44" creationId="{1D84CAB1-A4FA-DFEC-E329-9F6B4A370D2B}"/>
          </ac:picMkLst>
        </pc:picChg>
        <pc:picChg chg="del">
          <ac:chgData name="Nadkarni, Nikhil" userId="8cb4e2ce-db3a-48d0-bf6f-d5eb8967a6f9" providerId="ADAL" clId="{3D8AE9CF-11A6-4709-B7E1-28958F68C423}" dt="2023-07-10T16:03:53.256" v="406" actId="478"/>
          <ac:picMkLst>
            <pc:docMk/>
            <pc:sldMk cId="1963271544" sldId="1132"/>
            <ac:picMk id="46" creationId="{9B6E9984-F32B-D4EC-D987-B245E70B9836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07T16:54:26.769" v="8" actId="2056"/>
              <pc2:cmMkLst xmlns:pc2="http://schemas.microsoft.com/office/powerpoint/2019/9/main/command">
                <pc:docMk/>
                <pc:sldMk cId="1963271544" sldId="1132"/>
                <pc2:cmMk id="{69E4B366-BD72-4D1B-9B07-3B5D0AF1E6B5}"/>
              </pc2:cmMkLst>
            </pc226:cmChg>
          </p:ext>
        </pc:extLst>
      </pc:sldChg>
      <pc:sldChg chg="addSp delSp modSp mod modCm">
        <pc:chgData name="Nadkarni, Nikhil" userId="8cb4e2ce-db3a-48d0-bf6f-d5eb8967a6f9" providerId="ADAL" clId="{3D8AE9CF-11A6-4709-B7E1-28958F68C423}" dt="2023-07-10T20:22:41.504" v="6960" actId="962"/>
        <pc:sldMkLst>
          <pc:docMk/>
          <pc:sldMk cId="3474700355" sldId="1958"/>
        </pc:sldMkLst>
        <pc:spChg chg="add mod">
          <ac:chgData name="Nadkarni, Nikhil" userId="8cb4e2ce-db3a-48d0-bf6f-d5eb8967a6f9" providerId="ADAL" clId="{3D8AE9CF-11A6-4709-B7E1-28958F68C423}" dt="2023-07-10T20:19:14.132" v="6538" actId="27636"/>
          <ac:spMkLst>
            <pc:docMk/>
            <pc:sldMk cId="3474700355" sldId="1958"/>
            <ac:spMk id="2" creationId="{A2803681-83BA-14F1-D3BA-1D9F3C619B06}"/>
          </ac:spMkLst>
        </pc:spChg>
        <pc:spChg chg="del mod">
          <ac:chgData name="Nadkarni, Nikhil" userId="8cb4e2ce-db3a-48d0-bf6f-d5eb8967a6f9" providerId="ADAL" clId="{3D8AE9CF-11A6-4709-B7E1-28958F68C423}" dt="2023-07-10T16:06:27.024" v="462" actId="478"/>
          <ac:spMkLst>
            <pc:docMk/>
            <pc:sldMk cId="3474700355" sldId="1958"/>
            <ac:spMk id="3" creationId="{00000000-0000-0000-0000-000000000000}"/>
          </ac:spMkLst>
        </pc:spChg>
        <pc:spChg chg="add mod">
          <ac:chgData name="Nadkarni, Nikhil" userId="8cb4e2ce-db3a-48d0-bf6f-d5eb8967a6f9" providerId="ADAL" clId="{3D8AE9CF-11A6-4709-B7E1-28958F68C423}" dt="2023-07-10T20:21:10.049" v="6667" actId="962"/>
          <ac:spMkLst>
            <pc:docMk/>
            <pc:sldMk cId="3474700355" sldId="1958"/>
            <ac:spMk id="4" creationId="{E3A07C0A-9186-3109-07B2-97E65FF10052}"/>
          </ac:spMkLst>
        </pc:spChg>
        <pc:spChg chg="add del mod">
          <ac:chgData name="Nadkarni, Nikhil" userId="8cb4e2ce-db3a-48d0-bf6f-d5eb8967a6f9" providerId="ADAL" clId="{3D8AE9CF-11A6-4709-B7E1-28958F68C423}" dt="2023-07-10T16:06:28.838" v="464" actId="478"/>
          <ac:spMkLst>
            <pc:docMk/>
            <pc:sldMk cId="3474700355" sldId="1958"/>
            <ac:spMk id="6" creationId="{73F80CEA-DA55-BD22-264D-DA3205B4344E}"/>
          </ac:spMkLst>
        </pc:spChg>
        <pc:spChg chg="mod">
          <ac:chgData name="Nadkarni, Nikhil" userId="8cb4e2ce-db3a-48d0-bf6f-d5eb8967a6f9" providerId="ADAL" clId="{3D8AE9CF-11A6-4709-B7E1-28958F68C423}" dt="2023-07-10T17:49:39.083" v="3051" actId="20577"/>
          <ac:spMkLst>
            <pc:docMk/>
            <pc:sldMk cId="3474700355" sldId="1958"/>
            <ac:spMk id="11" creationId="{CF6A662C-B159-4D4A-B55E-03EE61F7E70F}"/>
          </ac:spMkLst>
        </pc:spChg>
        <pc:spChg chg="add mod">
          <ac:chgData name="Nadkarni, Nikhil" userId="8cb4e2ce-db3a-48d0-bf6f-d5eb8967a6f9" providerId="ADAL" clId="{3D8AE9CF-11A6-4709-B7E1-28958F68C423}" dt="2023-07-10T16:07:33.349" v="556" actId="20577"/>
          <ac:spMkLst>
            <pc:docMk/>
            <pc:sldMk cId="3474700355" sldId="1958"/>
            <ac:spMk id="14" creationId="{9C52EBCC-05CF-19D1-CA36-2D2D0F98314B}"/>
          </ac:spMkLst>
        </pc:spChg>
        <pc:spChg chg="add mod">
          <ac:chgData name="Nadkarni, Nikhil" userId="8cb4e2ce-db3a-48d0-bf6f-d5eb8967a6f9" providerId="ADAL" clId="{3D8AE9CF-11A6-4709-B7E1-28958F68C423}" dt="2023-07-10T17:07:28.865" v="2325" actId="14100"/>
          <ac:spMkLst>
            <pc:docMk/>
            <pc:sldMk cId="3474700355" sldId="1958"/>
            <ac:spMk id="15" creationId="{133C9064-36E8-9E93-C896-7069C24EFB28}"/>
          </ac:spMkLst>
        </pc:spChg>
        <pc:graphicFrameChg chg="mod">
          <ac:chgData name="Nadkarni, Nikhil" userId="8cb4e2ce-db3a-48d0-bf6f-d5eb8967a6f9" providerId="ADAL" clId="{3D8AE9CF-11A6-4709-B7E1-28958F68C423}" dt="2023-07-10T20:22:41.504" v="6960" actId="962"/>
          <ac:graphicFrameMkLst>
            <pc:docMk/>
            <pc:sldMk cId="3474700355" sldId="1958"/>
            <ac:graphicFrameMk id="23" creationId="{6A970923-3EE9-5110-7D67-6F29AF537C54}"/>
          </ac:graphicFrameMkLst>
        </pc:graphicFrame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Nadkarni, Nikhil" userId="8cb4e2ce-db3a-48d0-bf6f-d5eb8967a6f9" providerId="ADAL" clId="{3D8AE9CF-11A6-4709-B7E1-28958F68C423}" dt="2023-07-10T16:07:42.398" v="557"/>
              <pc2:cmMkLst xmlns:pc2="http://schemas.microsoft.com/office/powerpoint/2019/9/main/command">
                <pc:docMk/>
                <pc:sldMk cId="3474700355" sldId="1958"/>
                <pc2:cmMk id="{033F00EE-953C-4860-A001-328382969B86}"/>
              </pc2:cmMkLst>
            </pc226:cmChg>
          </p:ext>
        </pc:extLst>
      </pc:sldChg>
      <pc:sldChg chg="del modCm">
        <pc:chgData name="Nadkarni, Nikhil" userId="8cb4e2ce-db3a-48d0-bf6f-d5eb8967a6f9" providerId="ADAL" clId="{3D8AE9CF-11A6-4709-B7E1-28958F68C423}" dt="2023-07-10T16:08:44.500" v="567" actId="47"/>
        <pc:sldMkLst>
          <pc:docMk/>
          <pc:sldMk cId="2430331712" sldId="195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Nadkarni, Nikhil" userId="8cb4e2ce-db3a-48d0-bf6f-d5eb8967a6f9" providerId="ADAL" clId="{3D8AE9CF-11A6-4709-B7E1-28958F68C423}" dt="2023-07-07T17:39:58.543" v="11"/>
              <pc2:cmMkLst xmlns:pc2="http://schemas.microsoft.com/office/powerpoint/2019/9/main/command">
                <pc:docMk/>
                <pc:sldMk cId="2430331712" sldId="1959"/>
                <pc2:cmMk id="{B9100A68-20E0-40AE-B9E8-48E7EB1DD9F6}"/>
              </pc2:cmMkLst>
              <pc226:cmRplyChg chg="add">
                <pc226:chgData name="Nadkarni, Nikhil" userId="8cb4e2ce-db3a-48d0-bf6f-d5eb8967a6f9" providerId="ADAL" clId="{3D8AE9CF-11A6-4709-B7E1-28958F68C423}" dt="2023-07-07T17:39:58.543" v="11"/>
                <pc2:cmRplyMkLst xmlns:pc2="http://schemas.microsoft.com/office/powerpoint/2019/9/main/command">
                  <pc:docMk/>
                  <pc:sldMk cId="2430331712" sldId="1959"/>
                  <pc2:cmMk id="{B9100A68-20E0-40AE-B9E8-48E7EB1DD9F6}"/>
                  <pc2:cmRplyMk id="{4CCA2993-AAC2-47EC-AD54-96381F3B689B}"/>
                </pc2:cmRplyMkLst>
              </pc226:cmRplyChg>
            </pc226:cmChg>
          </p:ext>
        </pc:extLst>
      </pc:sldChg>
      <pc:sldChg chg="del">
        <pc:chgData name="Nadkarni, Nikhil" userId="8cb4e2ce-db3a-48d0-bf6f-d5eb8967a6f9" providerId="ADAL" clId="{3D8AE9CF-11A6-4709-B7E1-28958F68C423}" dt="2023-07-10T16:43:10.450" v="974" actId="47"/>
        <pc:sldMkLst>
          <pc:docMk/>
          <pc:sldMk cId="2586051300" sldId="1960"/>
        </pc:sldMkLst>
      </pc:sldChg>
      <pc:sldChg chg="del">
        <pc:chgData name="Nadkarni, Nikhil" userId="8cb4e2ce-db3a-48d0-bf6f-d5eb8967a6f9" providerId="ADAL" clId="{3D8AE9CF-11A6-4709-B7E1-28958F68C423}" dt="2023-07-10T17:01:44.402" v="2109" actId="47"/>
        <pc:sldMkLst>
          <pc:docMk/>
          <pc:sldMk cId="215532766" sldId="1961"/>
        </pc:sldMkLst>
      </pc:sldChg>
      <pc:sldChg chg="addSp delSp modSp mod">
        <pc:chgData name="Nadkarni, Nikhil" userId="8cb4e2ce-db3a-48d0-bf6f-d5eb8967a6f9" providerId="ADAL" clId="{3D8AE9CF-11A6-4709-B7E1-28958F68C423}" dt="2023-07-10T20:21:44.073" v="6734" actId="962"/>
        <pc:sldMkLst>
          <pc:docMk/>
          <pc:sldMk cId="3992210531" sldId="1962"/>
        </pc:sldMkLst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2" creationId="{75D8E2BC-B067-A912-1925-E4F54C1A3555}"/>
          </ac:spMkLst>
        </pc:spChg>
        <pc:spChg chg="del">
          <ac:chgData name="Nadkarni, Nikhil" userId="8cb4e2ce-db3a-48d0-bf6f-d5eb8967a6f9" providerId="ADAL" clId="{3D8AE9CF-11A6-4709-B7E1-28958F68C423}" dt="2023-07-10T17:02:36.848" v="2133" actId="478"/>
          <ac:spMkLst>
            <pc:docMk/>
            <pc:sldMk cId="3992210531" sldId="1962"/>
            <ac:spMk id="2" creationId="{DE36F9E6-0A9D-439D-3475-E572CB064060}"/>
          </ac:spMkLst>
        </pc:spChg>
        <pc:spChg chg="mod">
          <ac:chgData name="Nadkarni, Nikhil" userId="8cb4e2ce-db3a-48d0-bf6f-d5eb8967a6f9" providerId="ADAL" clId="{3D8AE9CF-11A6-4709-B7E1-28958F68C423}" dt="2023-07-10T20:06:39.456" v="6415" actId="20577"/>
          <ac:spMkLst>
            <pc:docMk/>
            <pc:sldMk cId="3992210531" sldId="1962"/>
            <ac:spMk id="3" creationId="{2088BC24-1734-6419-1D44-083DDAA0362A}"/>
          </ac:spMkLst>
        </pc:spChg>
        <pc:spChg chg="del">
          <ac:chgData name="Nadkarni, Nikhil" userId="8cb4e2ce-db3a-48d0-bf6f-d5eb8967a6f9" providerId="ADAL" clId="{3D8AE9CF-11A6-4709-B7E1-28958F68C423}" dt="2023-07-10T20:08:36.865" v="6512" actId="478"/>
          <ac:spMkLst>
            <pc:docMk/>
            <pc:sldMk cId="3992210531" sldId="1962"/>
            <ac:spMk id="4" creationId="{16D4389A-02E6-5DD3-C90C-DA062E6E491E}"/>
          </ac:spMkLst>
        </pc:spChg>
        <pc:spChg chg="add mod">
          <ac:chgData name="Nadkarni, Nikhil" userId="8cb4e2ce-db3a-48d0-bf6f-d5eb8967a6f9" providerId="ADAL" clId="{3D8AE9CF-11A6-4709-B7E1-28958F68C423}" dt="2023-07-10T20:19:20.942" v="6540" actId="33553"/>
          <ac:spMkLst>
            <pc:docMk/>
            <pc:sldMk cId="3992210531" sldId="1962"/>
            <ac:spMk id="5" creationId="{8F196868-1C52-8D91-AF0E-C71A04E48012}"/>
          </ac:spMkLst>
        </pc:spChg>
        <pc:spChg chg="add mod">
          <ac:chgData name="Nadkarni, Nikhil" userId="8cb4e2ce-db3a-48d0-bf6f-d5eb8967a6f9" providerId="ADAL" clId="{3D8AE9CF-11A6-4709-B7E1-28958F68C423}" dt="2023-07-10T20:21:44.073" v="6734" actId="962"/>
          <ac:spMkLst>
            <pc:docMk/>
            <pc:sldMk cId="3992210531" sldId="1962"/>
            <ac:spMk id="6" creationId="{E351053B-92D9-7338-1543-BD80B26AF33E}"/>
          </ac:spMkLst>
        </pc:spChg>
        <pc:spChg chg="add mod">
          <ac:chgData name="Nadkarni, Nikhil" userId="8cb4e2ce-db3a-48d0-bf6f-d5eb8967a6f9" providerId="ADAL" clId="{3D8AE9CF-11A6-4709-B7E1-28958F68C423}" dt="2023-07-10T20:08:45.745" v="6513"/>
          <ac:spMkLst>
            <pc:docMk/>
            <pc:sldMk cId="3992210531" sldId="1962"/>
            <ac:spMk id="7" creationId="{E5C00FE7-1626-A64E-216E-7FC46708F8F1}"/>
          </ac:spMkLst>
        </pc:spChg>
        <pc:spChg chg="add del mod">
          <ac:chgData name="Nadkarni, Nikhil" userId="8cb4e2ce-db3a-48d0-bf6f-d5eb8967a6f9" providerId="ADAL" clId="{3D8AE9CF-11A6-4709-B7E1-28958F68C423}" dt="2023-07-10T17:02:37.740" v="2134" actId="478"/>
          <ac:spMkLst>
            <pc:docMk/>
            <pc:sldMk cId="3992210531" sldId="1962"/>
            <ac:spMk id="8" creationId="{9A1EA81C-46CA-0BFD-0D1E-9D1182B5E9FE}"/>
          </ac:spMkLst>
        </pc:spChg>
      </pc:sldChg>
      <pc:sldChg chg="addSp delSp modSp mod">
        <pc:chgData name="Nadkarni, Nikhil" userId="8cb4e2ce-db3a-48d0-bf6f-d5eb8967a6f9" providerId="ADAL" clId="{3D8AE9CF-11A6-4709-B7E1-28958F68C423}" dt="2023-07-10T20:21:41.810" v="6733" actId="962"/>
        <pc:sldMkLst>
          <pc:docMk/>
          <pc:sldMk cId="4255861837" sldId="1963"/>
        </pc:sldMkLst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2" creationId="{1D1B36F6-DE8B-2517-76AA-A92108D127A9}"/>
          </ac:spMkLst>
        </pc:spChg>
        <pc:spChg chg="del">
          <ac:chgData name="Nadkarni, Nikhil" userId="8cb4e2ce-db3a-48d0-bf6f-d5eb8967a6f9" providerId="ADAL" clId="{3D8AE9CF-11A6-4709-B7E1-28958F68C423}" dt="2023-07-10T17:03:41.390" v="2239" actId="478"/>
          <ac:spMkLst>
            <pc:docMk/>
            <pc:sldMk cId="4255861837" sldId="1963"/>
            <ac:spMk id="2" creationId="{CC9D4750-C48F-670C-D69A-E66A407DCA40}"/>
          </ac:spMkLst>
        </pc:spChg>
        <pc:spChg chg="del">
          <ac:chgData name="Nadkarni, Nikhil" userId="8cb4e2ce-db3a-48d0-bf6f-d5eb8967a6f9" providerId="ADAL" clId="{3D8AE9CF-11A6-4709-B7E1-28958F68C423}" dt="2023-07-10T17:03:57.227" v="2260" actId="478"/>
          <ac:spMkLst>
            <pc:docMk/>
            <pc:sldMk cId="4255861837" sldId="1963"/>
            <ac:spMk id="3" creationId="{535EB9F3-E9D3-C3C6-A148-B826ED92F3E8}"/>
          </ac:spMkLst>
        </pc:spChg>
        <pc:spChg chg="add del mod">
          <ac:chgData name="Nadkarni, Nikhil" userId="8cb4e2ce-db3a-48d0-bf6f-d5eb8967a6f9" providerId="ADAL" clId="{3D8AE9CF-11A6-4709-B7E1-28958F68C423}" dt="2023-07-10T20:08:50.917" v="6515"/>
          <ac:spMkLst>
            <pc:docMk/>
            <pc:sldMk cId="4255861837" sldId="1963"/>
            <ac:spMk id="3" creationId="{BCF1E7E2-2351-E5F7-7E0C-CD5015EEA89B}"/>
          </ac:spMkLst>
        </pc:spChg>
        <pc:spChg chg="del">
          <ac:chgData name="Nadkarni, Nikhil" userId="8cb4e2ce-db3a-48d0-bf6f-d5eb8967a6f9" providerId="ADAL" clId="{3D8AE9CF-11A6-4709-B7E1-28958F68C423}" dt="2023-07-10T20:08:52.979" v="6516" actId="478"/>
          <ac:spMkLst>
            <pc:docMk/>
            <pc:sldMk cId="4255861837" sldId="1963"/>
            <ac:spMk id="4" creationId="{0C18B52F-3E56-CE58-5C37-11DD0E352E07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5" creationId="{B8DEC12F-2E52-AC16-EF21-4BB45422D8B6}"/>
          </ac:spMkLst>
        </pc:spChg>
        <pc:spChg chg="add del mod">
          <ac:chgData name="Nadkarni, Nikhil" userId="8cb4e2ce-db3a-48d0-bf6f-d5eb8967a6f9" providerId="ADAL" clId="{3D8AE9CF-11A6-4709-B7E1-28958F68C423}" dt="2023-07-10T17:03:43.884" v="2240" actId="478"/>
          <ac:spMkLst>
            <pc:docMk/>
            <pc:sldMk cId="4255861837" sldId="1963"/>
            <ac:spMk id="6" creationId="{60685B6A-15B6-5DFE-C772-AACE7AAF8FE6}"/>
          </ac:spMkLst>
        </pc:spChg>
        <pc:spChg chg="add mod">
          <ac:chgData name="Nadkarni, Nikhil" userId="8cb4e2ce-db3a-48d0-bf6f-d5eb8967a6f9" providerId="ADAL" clId="{3D8AE9CF-11A6-4709-B7E1-28958F68C423}" dt="2023-07-10T20:08:53.716" v="6517"/>
          <ac:spMkLst>
            <pc:docMk/>
            <pc:sldMk cId="4255861837" sldId="1963"/>
            <ac:spMk id="6" creationId="{BBD967D3-9B49-861D-D44F-CBEE271A4D5A}"/>
          </ac:spMkLst>
        </pc:spChg>
        <pc:spChg chg="add mod">
          <ac:chgData name="Nadkarni, Nikhil" userId="8cb4e2ce-db3a-48d0-bf6f-d5eb8967a6f9" providerId="ADAL" clId="{3D8AE9CF-11A6-4709-B7E1-28958F68C423}" dt="2023-07-10T17:03:48.971" v="2259" actId="20577"/>
          <ac:spMkLst>
            <pc:docMk/>
            <pc:sldMk cId="4255861837" sldId="1963"/>
            <ac:spMk id="7" creationId="{55C3F6FE-508A-07E3-DEBA-1E6F5932979C}"/>
          </ac:spMkLst>
        </pc:spChg>
        <pc:spChg chg="add mod">
          <ac:chgData name="Nadkarni, Nikhil" userId="8cb4e2ce-db3a-48d0-bf6f-d5eb8967a6f9" providerId="ADAL" clId="{3D8AE9CF-11A6-4709-B7E1-28958F68C423}" dt="2023-07-10T20:21:41.810" v="6733" actId="962"/>
          <ac:spMkLst>
            <pc:docMk/>
            <pc:sldMk cId="4255861837" sldId="1963"/>
            <ac:spMk id="8" creationId="{99FCCC70-6E17-33E9-D66D-B6B3B0A563C9}"/>
          </ac:spMkLst>
        </pc:spChg>
      </pc:sldChg>
      <pc:sldChg chg="addSp delSp modSp del mod">
        <pc:chgData name="Nadkarni, Nikhil" userId="8cb4e2ce-db3a-48d0-bf6f-d5eb8967a6f9" providerId="ADAL" clId="{3D8AE9CF-11A6-4709-B7E1-28958F68C423}" dt="2023-07-10T20:05:07.954" v="6376" actId="47"/>
        <pc:sldMkLst>
          <pc:docMk/>
          <pc:sldMk cId="4145500570" sldId="1964"/>
        </pc:sldMkLst>
        <pc:spChg chg="add mod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4" creationId="{0A471AA2-DB3A-8CEF-A884-317A80C6E339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9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0" creationId="{00000000-0000-0000-0000-000000000000}"/>
          </ac:spMkLst>
        </pc:spChg>
        <pc:spChg chg="del">
          <ac:chgData name="Nadkarni, Nikhil" userId="8cb4e2ce-db3a-48d0-bf6f-d5eb8967a6f9" providerId="ADAL" clId="{3D8AE9CF-11A6-4709-B7E1-28958F68C423}" dt="2023-07-10T20:05:03.854" v="6374" actId="21"/>
          <ac:spMkLst>
            <pc:docMk/>
            <pc:sldMk cId="4145500570" sldId="1964"/>
            <ac:spMk id="13" creationId="{00000000-0000-0000-0000-000000000000}"/>
          </ac:spMkLst>
        </pc:spChg>
        <pc:graphicFrameChg chg="del">
          <ac:chgData name="Nadkarni, Nikhil" userId="8cb4e2ce-db3a-48d0-bf6f-d5eb8967a6f9" providerId="ADAL" clId="{3D8AE9CF-11A6-4709-B7E1-28958F68C423}" dt="2023-07-10T20:05:03.854" v="6374" actId="21"/>
          <ac:graphicFrameMkLst>
            <pc:docMk/>
            <pc:sldMk cId="4145500570" sldId="1964"/>
            <ac:graphicFrameMk id="23" creationId="{6A970923-3EE9-5110-7D67-6F29AF537C54}"/>
          </ac:graphicFrameMkLst>
        </pc:graphicFrameChg>
        <pc:picChg chg="del">
          <ac:chgData name="Nadkarni, Nikhil" userId="8cb4e2ce-db3a-48d0-bf6f-d5eb8967a6f9" providerId="ADAL" clId="{3D8AE9CF-11A6-4709-B7E1-28958F68C423}" dt="2023-07-10T20:05:03.854" v="6374" actId="21"/>
          <ac:picMkLst>
            <pc:docMk/>
            <pc:sldMk cId="4145500570" sldId="1964"/>
            <ac:picMk id="12" creationId="{A7E6D13E-3F18-D30A-8248-80383CD52044}"/>
          </ac:picMkLst>
        </pc:picChg>
      </pc:sldChg>
      <pc:sldChg chg="del">
        <pc:chgData name="Nadkarni, Nikhil" userId="8cb4e2ce-db3a-48d0-bf6f-d5eb8967a6f9" providerId="ADAL" clId="{3D8AE9CF-11A6-4709-B7E1-28958F68C423}" dt="2023-07-10T16:28:59.338" v="903" actId="47"/>
        <pc:sldMkLst>
          <pc:docMk/>
          <pc:sldMk cId="738356794" sldId="1965"/>
        </pc:sldMkLst>
      </pc:sldChg>
      <pc:sldChg chg="modSp add mod">
        <pc:chgData name="Nadkarni, Nikhil" userId="8cb4e2ce-db3a-48d0-bf6f-d5eb8967a6f9" providerId="ADAL" clId="{3D8AE9CF-11A6-4709-B7E1-28958F68C423}" dt="2023-07-10T20:21:13.259" v="6669" actId="962"/>
        <pc:sldMkLst>
          <pc:docMk/>
          <pc:sldMk cId="1192723466" sldId="1966"/>
        </pc:sldMkLst>
        <pc:spChg chg="mod">
          <ac:chgData name="Nadkarni, Nikhil" userId="8cb4e2ce-db3a-48d0-bf6f-d5eb8967a6f9" providerId="ADAL" clId="{3D8AE9CF-11A6-4709-B7E1-28958F68C423}" dt="2023-07-10T17:09:55.836" v="2335" actId="5793"/>
          <ac:spMkLst>
            <pc:docMk/>
            <pc:sldMk cId="1192723466" sldId="196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13.259" v="6669" actId="962"/>
          <ac:spMkLst>
            <pc:docMk/>
            <pc:sldMk cId="1192723466" sldId="1966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2:07.378" v="6745" actId="962"/>
        <pc:sldMkLst>
          <pc:docMk/>
          <pc:sldMk cId="3267574285" sldId="1967"/>
        </pc:sldMkLst>
        <pc:spChg chg="mod">
          <ac:chgData name="Nadkarni, Nikhil" userId="8cb4e2ce-db3a-48d0-bf6f-d5eb8967a6f9" providerId="ADAL" clId="{3D8AE9CF-11A6-4709-B7E1-28958F68C423}" dt="2023-07-10T19:26:46.552" v="4139" actId="5793"/>
          <ac:spMkLst>
            <pc:docMk/>
            <pc:sldMk cId="3267574285" sldId="1967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07.378" v="6745" actId="962"/>
          <ac:spMkLst>
            <pc:docMk/>
            <pc:sldMk cId="3267574285" sldId="1967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1:52.641" v="6737" actId="962"/>
        <pc:sldMkLst>
          <pc:docMk/>
          <pc:sldMk cId="2854237404" sldId="1968"/>
        </pc:sldMkLst>
        <pc:spChg chg="mod">
          <ac:chgData name="Nadkarni, Nikhil" userId="8cb4e2ce-db3a-48d0-bf6f-d5eb8967a6f9" providerId="ADAL" clId="{3D8AE9CF-11A6-4709-B7E1-28958F68C423}" dt="2023-07-10T19:27:07.766" v="4152" actId="5793"/>
          <ac:spMkLst>
            <pc:docMk/>
            <pc:sldMk cId="2854237404" sldId="1968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2.641" v="6737" actId="962"/>
          <ac:spMkLst>
            <pc:docMk/>
            <pc:sldMk cId="2854237404" sldId="1968"/>
            <ac:spMk id="6" creationId="{0038D609-7001-4947-92BB-A379E0414168}"/>
          </ac:spMkLst>
        </pc:spChg>
      </pc:sldChg>
      <pc:sldChg chg="addSp delSp modSp add mod">
        <pc:chgData name="Nadkarni, Nikhil" userId="8cb4e2ce-db3a-48d0-bf6f-d5eb8967a6f9" providerId="ADAL" clId="{3D8AE9CF-11A6-4709-B7E1-28958F68C423}" dt="2023-07-10T20:22:50.415" v="7006" actId="962"/>
        <pc:sldMkLst>
          <pc:docMk/>
          <pc:sldMk cId="1389041451" sldId="1969"/>
        </pc:sldMkLst>
        <pc:spChg chg="mod">
          <ac:chgData name="Nadkarni, Nikhil" userId="8cb4e2ce-db3a-48d0-bf6f-d5eb8967a6f9" providerId="ADAL" clId="{3D8AE9CF-11A6-4709-B7E1-28958F68C423}" dt="2023-07-10T16:26:26.329" v="644" actId="1076"/>
          <ac:spMkLst>
            <pc:docMk/>
            <pc:sldMk cId="1389041451" sldId="1969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21:14.971" v="6670" actId="962"/>
          <ac:spMkLst>
            <pc:docMk/>
            <pc:sldMk cId="1389041451" sldId="1969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6:29:48.076" v="919" actId="5793"/>
          <ac:spMkLst>
            <pc:docMk/>
            <pc:sldMk cId="1389041451" sldId="1969"/>
            <ac:spMk id="11" creationId="{80375151-8B20-3D8C-FEBF-EF4330089FFA}"/>
          </ac:spMkLst>
        </pc:spChg>
        <pc:picChg chg="add mod">
          <ac:chgData name="Nadkarni, Nikhil" userId="8cb4e2ce-db3a-48d0-bf6f-d5eb8967a6f9" providerId="ADAL" clId="{3D8AE9CF-11A6-4709-B7E1-28958F68C423}" dt="2023-07-10T20:22:50.415" v="7006" actId="962"/>
          <ac:picMkLst>
            <pc:docMk/>
            <pc:sldMk cId="1389041451" sldId="1969"/>
            <ac:picMk id="4" creationId="{82CC64F2-5936-D499-C8C7-9411BB4F9974}"/>
          </ac:picMkLst>
        </pc:picChg>
        <pc:picChg chg="del">
          <ac:chgData name="Nadkarni, Nikhil" userId="8cb4e2ce-db3a-48d0-bf6f-d5eb8967a6f9" providerId="ADAL" clId="{3D8AE9CF-11A6-4709-B7E1-28958F68C423}" dt="2023-07-10T16:26:28.540" v="645" actId="478"/>
          <ac:picMkLst>
            <pc:docMk/>
            <pc:sldMk cId="1389041451" sldId="1969"/>
            <ac:picMk id="7" creationId="{5DB52DC8-48BD-AB73-3C85-3BDA5B7DF1DB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1:58.561" v="6741" actId="962"/>
        <pc:sldMkLst>
          <pc:docMk/>
          <pc:sldMk cId="243584219" sldId="1970"/>
        </pc:sldMkLst>
        <pc:spChg chg="mod">
          <ac:chgData name="Nadkarni, Nikhil" userId="8cb4e2ce-db3a-48d0-bf6f-d5eb8967a6f9" providerId="ADAL" clId="{3D8AE9CF-11A6-4709-B7E1-28958F68C423}" dt="2023-07-10T19:32:58.917" v="4391" actId="5793"/>
          <ac:spMkLst>
            <pc:docMk/>
            <pc:sldMk cId="243584219" sldId="1970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58.561" v="6741" actId="962"/>
          <ac:spMkLst>
            <pc:docMk/>
            <pc:sldMk cId="243584219" sldId="1970"/>
            <ac:spMk id="6" creationId="{0038D609-7001-4947-92BB-A379E0414168}"/>
          </ac:spMkLst>
        </pc:spChg>
      </pc:sldChg>
      <pc:sldChg chg="modSp add mod delCm">
        <pc:chgData name="Nadkarni, Nikhil" userId="8cb4e2ce-db3a-48d0-bf6f-d5eb8967a6f9" providerId="ADAL" clId="{3D8AE9CF-11A6-4709-B7E1-28958F68C423}" dt="2023-07-10T20:21:47.392" v="6735" actId="962"/>
        <pc:sldMkLst>
          <pc:docMk/>
          <pc:sldMk cId="472625034" sldId="1971"/>
        </pc:sldMkLst>
        <pc:spChg chg="mod">
          <ac:chgData name="Nadkarni, Nikhil" userId="8cb4e2ce-db3a-48d0-bf6f-d5eb8967a6f9" providerId="ADAL" clId="{3D8AE9CF-11A6-4709-B7E1-28958F68C423}" dt="2023-07-10T20:07:29.151" v="6495" actId="20577"/>
          <ac:spMkLst>
            <pc:docMk/>
            <pc:sldMk cId="472625034" sldId="1971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1:47.392" v="6735" actId="962"/>
          <ac:spMkLst>
            <pc:docMk/>
            <pc:sldMk cId="472625034" sldId="1971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7.951" v="6507" actId="20577"/>
          <ac:spMkLst>
            <pc:docMk/>
            <pc:sldMk cId="472625034" sldId="1971"/>
            <ac:spMk id="9" creationId="{BADF41E3-B302-4C05-B004-242B35D59BFB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Nadkarni, Nikhil" userId="8cb4e2ce-db3a-48d0-bf6f-d5eb8967a6f9" providerId="ADAL" clId="{3D8AE9CF-11A6-4709-B7E1-28958F68C423}" dt="2023-07-10T16:44:03.359" v="977"/>
              <pc2:cmMkLst xmlns:pc2="http://schemas.microsoft.com/office/powerpoint/2019/9/main/command">
                <pc:docMk/>
                <pc:sldMk cId="472625034" sldId="1971"/>
                <pc2:cmMk id="{BDBB79D5-D3B7-4BC5-A919-FB18355E7910}"/>
              </pc2:cmMkLst>
            </pc226:cmChg>
          </p:ext>
        </pc:extLst>
      </pc:sldChg>
      <pc:sldChg chg="addSp delSp modSp add mod">
        <pc:chgData name="Nadkarni, Nikhil" userId="8cb4e2ce-db3a-48d0-bf6f-d5eb8967a6f9" providerId="ADAL" clId="{3D8AE9CF-11A6-4709-B7E1-28958F68C423}" dt="2023-07-10T20:25:42.132" v="7950" actId="962"/>
        <pc:sldMkLst>
          <pc:docMk/>
          <pc:sldMk cId="175234593" sldId="1972"/>
        </pc:sldMkLst>
        <pc:spChg chg="mod">
          <ac:chgData name="Nadkarni, Nikhil" userId="8cb4e2ce-db3a-48d0-bf6f-d5eb8967a6f9" providerId="ADAL" clId="{3D8AE9CF-11A6-4709-B7E1-28958F68C423}" dt="2023-07-10T17:01:39.533" v="2106" actId="20577"/>
          <ac:spMkLst>
            <pc:docMk/>
            <pc:sldMk cId="175234593" sldId="1972"/>
            <ac:spMk id="2" creationId="{71ECDFDF-B56B-4C43-BBBF-D35CEE5E475F}"/>
          </ac:spMkLst>
        </pc:spChg>
        <pc:spChg chg="del mod">
          <ac:chgData name="Nadkarni, Nikhil" userId="8cb4e2ce-db3a-48d0-bf6f-d5eb8967a6f9" providerId="ADAL" clId="{3D8AE9CF-11A6-4709-B7E1-28958F68C423}" dt="2023-07-10T17:01:43.150" v="2108" actId="478"/>
          <ac:spMkLst>
            <pc:docMk/>
            <pc:sldMk cId="175234593" sldId="1972"/>
            <ac:spMk id="3" creationId="{06AC962A-FABE-4F14-91E7-A91AD417ADFF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4" creationId="{8F6A06A7-FFFD-A2F5-F721-592EDB8AAA09}"/>
          </ac:spMkLst>
        </pc:spChg>
        <pc:spChg chg="mod">
          <ac:chgData name="Nadkarni, Nikhil" userId="8cb4e2ce-db3a-48d0-bf6f-d5eb8967a6f9" providerId="ADAL" clId="{3D8AE9CF-11A6-4709-B7E1-28958F68C423}" dt="2023-07-10T20:22:04.697" v="6744" actId="962"/>
          <ac:spMkLst>
            <pc:docMk/>
            <pc:sldMk cId="175234593" sldId="1972"/>
            <ac:spMk id="6" creationId="{0038D609-7001-4947-92BB-A379E0414168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7" creationId="{ACB251AD-130B-1E9A-527E-F944D052EF3D}"/>
          </ac:spMkLst>
        </pc:spChg>
        <pc:spChg chg="mod">
          <ac:chgData name="Nadkarni, Nikhil" userId="8cb4e2ce-db3a-48d0-bf6f-d5eb8967a6f9" providerId="ADAL" clId="{3D8AE9CF-11A6-4709-B7E1-28958F68C423}" dt="2023-07-10T20:08:31.680" v="6511" actId="20577"/>
          <ac:spMkLst>
            <pc:docMk/>
            <pc:sldMk cId="175234593" sldId="1972"/>
            <ac:spMk id="9" creationId="{BADF41E3-B302-4C05-B004-242B35D59BFB}"/>
          </ac:spMkLst>
        </pc:spChg>
        <pc:spChg chg="add mod">
          <ac:chgData name="Nadkarni, Nikhil" userId="8cb4e2ce-db3a-48d0-bf6f-d5eb8967a6f9" providerId="ADAL" clId="{3D8AE9CF-11A6-4709-B7E1-28958F68C423}" dt="2023-07-10T20:05:05.817" v="6375"/>
          <ac:spMkLst>
            <pc:docMk/>
            <pc:sldMk cId="175234593" sldId="1972"/>
            <ac:spMk id="10" creationId="{D141A10D-5B03-7E89-B4DE-3B8BE28B7D19}"/>
          </ac:spMkLst>
        </pc:spChg>
        <pc:graphicFrameChg chg="add mod">
          <ac:chgData name="Nadkarni, Nikhil" userId="8cb4e2ce-db3a-48d0-bf6f-d5eb8967a6f9" providerId="ADAL" clId="{3D8AE9CF-11A6-4709-B7E1-28958F68C423}" dt="2023-07-10T20:25:42.132" v="7950" actId="962"/>
          <ac:graphicFrameMkLst>
            <pc:docMk/>
            <pc:sldMk cId="175234593" sldId="1972"/>
            <ac:graphicFrameMk id="3" creationId="{B21E3827-1DB0-0D3E-8DCC-20E920E4B217}"/>
          </ac:graphicFrameMkLst>
        </pc:graphicFrameChg>
        <pc:picChg chg="add mod">
          <ac:chgData name="Nadkarni, Nikhil" userId="8cb4e2ce-db3a-48d0-bf6f-d5eb8967a6f9" providerId="ADAL" clId="{3D8AE9CF-11A6-4709-B7E1-28958F68C423}" dt="2023-07-10T20:05:05.817" v="6375"/>
          <ac:picMkLst>
            <pc:docMk/>
            <pc:sldMk cId="175234593" sldId="1972"/>
            <ac:picMk id="5" creationId="{34E7080A-BF57-D511-AB85-451D6AB36BD3}"/>
          </ac:picMkLst>
        </pc:picChg>
      </pc:sldChg>
      <pc:sldChg chg="addSp modSp add mod">
        <pc:chgData name="Nadkarni, Nikhil" userId="8cb4e2ce-db3a-48d0-bf6f-d5eb8967a6f9" providerId="ADAL" clId="{3D8AE9CF-11A6-4709-B7E1-28958F68C423}" dt="2023-07-10T20:23:27.103" v="7238" actId="962"/>
        <pc:sldMkLst>
          <pc:docMk/>
          <pc:sldMk cId="2953531974" sldId="1973"/>
        </pc:sldMkLst>
        <pc:spChg chg="add mod">
          <ac:chgData name="Nadkarni, Nikhil" userId="8cb4e2ce-db3a-48d0-bf6f-d5eb8967a6f9" providerId="ADAL" clId="{3D8AE9CF-11A6-4709-B7E1-28958F68C423}" dt="2023-07-10T20:21:34.769" v="6732" actId="962"/>
          <ac:spMkLst>
            <pc:docMk/>
            <pc:sldMk cId="2953531974" sldId="1973"/>
            <ac:spMk id="3" creationId="{226BD9C4-BF15-34A4-D236-D02E4550FE5C}"/>
          </ac:spMkLst>
        </pc:spChg>
        <pc:spChg chg="add mod">
          <ac:chgData name="Nadkarni, Nikhil" userId="8cb4e2ce-db3a-48d0-bf6f-d5eb8967a6f9" providerId="ADAL" clId="{3D8AE9CF-11A6-4709-B7E1-28958F68C423}" dt="2023-07-10T17:54:48.851" v="3217"/>
          <ac:spMkLst>
            <pc:docMk/>
            <pc:sldMk cId="2953531974" sldId="1973"/>
            <ac:spMk id="4" creationId="{B30C229C-2B06-2587-56A4-5343598C7417}"/>
          </ac:spMkLst>
        </pc:spChg>
        <pc:spChg chg="mod">
          <ac:chgData name="Nadkarni, Nikhil" userId="8cb4e2ce-db3a-48d0-bf6f-d5eb8967a6f9" providerId="ADAL" clId="{3D8AE9CF-11A6-4709-B7E1-28958F68C423}" dt="2023-07-10T20:21:24.737" v="6674" actId="962"/>
          <ac:spMkLst>
            <pc:docMk/>
            <pc:sldMk cId="2953531974" sldId="1973"/>
            <ac:spMk id="6" creationId="{0038D609-7001-4947-92BB-A379E0414168}"/>
          </ac:spMkLst>
        </pc:spChg>
        <pc:picChg chg="mod">
          <ac:chgData name="Nadkarni, Nikhil" userId="8cb4e2ce-db3a-48d0-bf6f-d5eb8967a6f9" providerId="ADAL" clId="{3D8AE9CF-11A6-4709-B7E1-28958F68C423}" dt="2023-07-10T20:23:27.103" v="7238" actId="962"/>
          <ac:picMkLst>
            <pc:docMk/>
            <pc:sldMk cId="2953531974" sldId="1973"/>
            <ac:picMk id="50" creationId="{A1F8D0D6-16E7-918C-6278-B9522CE6D9E9}"/>
          </ac:picMkLst>
        </pc:picChg>
      </pc:sldChg>
      <pc:sldChg chg="addSp delSp modSp add mod">
        <pc:chgData name="Nadkarni, Nikhil" userId="8cb4e2ce-db3a-48d0-bf6f-d5eb8967a6f9" providerId="ADAL" clId="{3D8AE9CF-11A6-4709-B7E1-28958F68C423}" dt="2023-07-10T20:24:52.607" v="7688" actId="962"/>
        <pc:sldMkLst>
          <pc:docMk/>
          <pc:sldMk cId="1745514758" sldId="1974"/>
        </pc:sldMkLst>
        <pc:spChg chg="mod">
          <ac:chgData name="Nadkarni, Nikhil" userId="8cb4e2ce-db3a-48d0-bf6f-d5eb8967a6f9" providerId="ADAL" clId="{3D8AE9CF-11A6-4709-B7E1-28958F68C423}" dt="2023-07-10T19:19:17.656" v="3829" actId="20577"/>
          <ac:spMkLst>
            <pc:docMk/>
            <pc:sldMk cId="1745514758" sldId="1974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21:11.827" v="4039" actId="20577"/>
          <ac:spMkLst>
            <pc:docMk/>
            <pc:sldMk cId="1745514758" sldId="1974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2:12.433" v="6748" actId="962"/>
          <ac:spMkLst>
            <pc:docMk/>
            <pc:sldMk cId="1745514758" sldId="1974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19:21:25.942" v="4043" actId="20577"/>
          <ac:spMkLst>
            <pc:docMk/>
            <pc:sldMk cId="1745514758" sldId="1974"/>
            <ac:spMk id="9" creationId="{BADF41E3-B302-4C05-B004-242B35D59BFB}"/>
          </ac:spMkLst>
        </pc:spChg>
        <pc:picChg chg="add mod">
          <ac:chgData name="Nadkarni, Nikhil" userId="8cb4e2ce-db3a-48d0-bf6f-d5eb8967a6f9" providerId="ADAL" clId="{3D8AE9CF-11A6-4709-B7E1-28958F68C423}" dt="2023-07-10T20:24:36.450" v="7566" actId="962"/>
          <ac:picMkLst>
            <pc:docMk/>
            <pc:sldMk cId="1745514758" sldId="1974"/>
            <ac:picMk id="4" creationId="{C61A5505-5E8C-9D22-F113-0E5BDDA7B5C7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5" creationId="{5BA58F11-F945-3CA1-B968-9BC0A0E02431}"/>
          </ac:picMkLst>
        </pc:picChg>
        <pc:picChg chg="add mod">
          <ac:chgData name="Nadkarni, Nikhil" userId="8cb4e2ce-db3a-48d0-bf6f-d5eb8967a6f9" providerId="ADAL" clId="{3D8AE9CF-11A6-4709-B7E1-28958F68C423}" dt="2023-07-10T20:24:52.607" v="7688" actId="962"/>
          <ac:picMkLst>
            <pc:docMk/>
            <pc:sldMk cId="1745514758" sldId="1974"/>
            <ac:picMk id="7" creationId="{F80A9202-A2C5-9E92-EBB6-2C4A9CFED7CC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0" creationId="{7DE6C690-F5FC-D904-1697-C4789E2EBE23}"/>
          </ac:picMkLst>
        </pc:picChg>
        <pc:picChg chg="del">
          <ac:chgData name="Nadkarni, Nikhil" userId="8cb4e2ce-db3a-48d0-bf6f-d5eb8967a6f9" providerId="ADAL" clId="{3D8AE9CF-11A6-4709-B7E1-28958F68C423}" dt="2023-07-10T19:14:02.724" v="3672" actId="21"/>
          <ac:picMkLst>
            <pc:docMk/>
            <pc:sldMk cId="1745514758" sldId="1974"/>
            <ac:picMk id="16" creationId="{91F5EBE7-E239-A197-1C89-9368475D70B7}"/>
          </ac:picMkLst>
        </pc:picChg>
      </pc:sldChg>
      <pc:sldChg chg="modSp add mod">
        <pc:chgData name="Nadkarni, Nikhil" userId="8cb4e2ce-db3a-48d0-bf6f-d5eb8967a6f9" providerId="ADAL" clId="{3D8AE9CF-11A6-4709-B7E1-28958F68C423}" dt="2023-07-10T20:25:28.433" v="7864" actId="962"/>
        <pc:sldMkLst>
          <pc:docMk/>
          <pc:sldMk cId="2184168918" sldId="1975"/>
        </pc:sldMkLst>
        <pc:spChg chg="mod">
          <ac:chgData name="Nadkarni, Nikhil" userId="8cb4e2ce-db3a-48d0-bf6f-d5eb8967a6f9" providerId="ADAL" clId="{3D8AE9CF-11A6-4709-B7E1-28958F68C423}" dt="2023-07-10T19:34:44.422" v="4436" actId="20577"/>
          <ac:spMkLst>
            <pc:docMk/>
            <pc:sldMk cId="2184168918" sldId="1975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19:58:34.031" v="5633" actId="20577"/>
          <ac:spMkLst>
            <pc:docMk/>
            <pc:sldMk cId="2184168918" sldId="1975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28.433" v="7864" actId="962"/>
          <ac:spMkLst>
            <pc:docMk/>
            <pc:sldMk cId="2184168918" sldId="1975"/>
            <ac:spMk id="6" creationId="{0038D609-7001-4947-92BB-A379E0414168}"/>
          </ac:spMkLst>
        </pc:spChg>
      </pc:sldChg>
      <pc:sldChg chg="modSp add mod">
        <pc:chgData name="Nadkarni, Nikhil" userId="8cb4e2ce-db3a-48d0-bf6f-d5eb8967a6f9" providerId="ADAL" clId="{3D8AE9CF-11A6-4709-B7E1-28958F68C423}" dt="2023-07-10T20:25:31.585" v="7866" actId="962"/>
        <pc:sldMkLst>
          <pc:docMk/>
          <pc:sldMk cId="1562900042" sldId="1976"/>
        </pc:sldMkLst>
        <pc:spChg chg="mod">
          <ac:chgData name="Nadkarni, Nikhil" userId="8cb4e2ce-db3a-48d0-bf6f-d5eb8967a6f9" providerId="ADAL" clId="{3D8AE9CF-11A6-4709-B7E1-28958F68C423}" dt="2023-07-10T20:01:36.688" v="5875" actId="20577"/>
          <ac:spMkLst>
            <pc:docMk/>
            <pc:sldMk cId="1562900042" sldId="1976"/>
            <ac:spMk id="2" creationId="{71ECDFDF-B56B-4C43-BBBF-D35CEE5E475F}"/>
          </ac:spMkLst>
        </pc:spChg>
        <pc:spChg chg="mod">
          <ac:chgData name="Nadkarni, Nikhil" userId="8cb4e2ce-db3a-48d0-bf6f-d5eb8967a6f9" providerId="ADAL" clId="{3D8AE9CF-11A6-4709-B7E1-28958F68C423}" dt="2023-07-10T20:06:53.012" v="6417"/>
          <ac:spMkLst>
            <pc:docMk/>
            <pc:sldMk cId="1562900042" sldId="1976"/>
            <ac:spMk id="3" creationId="{06AC962A-FABE-4F14-91E7-A91AD417ADFF}"/>
          </ac:spMkLst>
        </pc:spChg>
        <pc:spChg chg="mod">
          <ac:chgData name="Nadkarni, Nikhil" userId="8cb4e2ce-db3a-48d0-bf6f-d5eb8967a6f9" providerId="ADAL" clId="{3D8AE9CF-11A6-4709-B7E1-28958F68C423}" dt="2023-07-10T20:25:31.585" v="7866" actId="962"/>
          <ac:spMkLst>
            <pc:docMk/>
            <pc:sldMk cId="1562900042" sldId="1976"/>
            <ac:spMk id="6" creationId="{0038D609-7001-4947-92BB-A379E0414168}"/>
          </ac:spMkLst>
        </pc:spChg>
        <pc:spChg chg="mod">
          <ac:chgData name="Nadkarni, Nikhil" userId="8cb4e2ce-db3a-48d0-bf6f-d5eb8967a6f9" providerId="ADAL" clId="{3D8AE9CF-11A6-4709-B7E1-28958F68C423}" dt="2023-07-10T20:08:23.567" v="6503" actId="20577"/>
          <ac:spMkLst>
            <pc:docMk/>
            <pc:sldMk cId="1562900042" sldId="1976"/>
            <ac:spMk id="9" creationId="{BADF41E3-B302-4C05-B004-242B35D59BF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0581903904676437E-2"/>
          <c:y val="2.253032848238945E-2"/>
          <c:w val="0.87843763828277588"/>
          <c:h val="0.9549393653869628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1-737C-467A-95ED-B72AD17F996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3-737C-467A-95ED-B72AD17F996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6="http://schemas.microsoft.com/office/drawing/2014/chart" uri="{C3380CC4-5D6E-409C-BE32-E72D297353CC}">
                <c16:uniqueId val="{00000005-737C-467A-95ED-B72AD17F996E}"/>
              </c:ext>
            </c:extLst>
          </c:dPt>
          <c:dLbls>
            <c:dLbl>
              <c:idx val="0"/>
              <c:layout>
                <c:manualLayout>
                  <c:x val="-0.19765365123748779"/>
                  <c:y val="-9.4025842845439911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 smtId="4294967295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37C-467A-95ED-B72AD17F996E}"/>
                </c:ext>
              </c:extLst>
            </c:dLbl>
            <c:dLbl>
              <c:idx val="1"/>
              <c:layout>
                <c:manualLayout>
                  <c:x val="-8.7684333324432373E-2"/>
                  <c:y val="-0.10398613661527634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 smtId="4294967295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37C-467A-95ED-B72AD17F996E}"/>
                </c:ext>
              </c:extLst>
            </c:dLbl>
            <c:dLbl>
              <c:idx val="2"/>
              <c:layout>
                <c:manualLayout>
                  <c:x val="-3.3878039568662643E-2"/>
                  <c:y val="-0.16767764091491699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 smtId="4294967295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37C-467A-95ED-B72AD17F996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</c:numCache>
            </c:numRef>
          </c:val>
          <c:extLst xmlns:a14="http://schemas.microsoft.com/office/drawing/2010/main" xmlns:wp="http://schemas.openxmlformats.org/drawingml/2006/wordprocessingDrawing" xmlns:xml="http://www.w3.org/XML/1998/namespace" xmlns:w="http://schemas.openxmlformats.org/wordprocessingml/2006/main" xmlns:m="http://schemas.openxmlformats.org/officeDocument/2006/math">
            <c:ext xmlns:c16="http://schemas.microsoft.com/office/drawing/2014/chart" uri="{C3380CC4-5D6E-409C-BE32-E72D297353CC}">
              <c16:uniqueId val="{00000006-737C-467A-95ED-B72AD17F99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0581905141490637E-2"/>
          <c:y val="2.2530329289428077E-2"/>
          <c:w val="0.87843762455161423"/>
          <c:h val="0.95493934142114389"/>
        </c:manualLayout>
      </c:layout>
      <c:pieChart>
        <c:varyColors val="0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5DB3-49C6-8E82-9A5F43EFFB1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5DB3-49C6-8E82-9A5F43EFFB1D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5-5DB3-49C6-8E82-9A5F43EFFB1D}"/>
              </c:ext>
            </c:extLst>
          </c:dPt>
          <c:dLbls>
            <c:dLbl>
              <c:idx val="0"/>
              <c:layout>
                <c:manualLayout>
                  <c:x val="-0.19765365030411461"/>
                  <c:y val="-9.4025846422576859E-2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1-5DB3-49C6-8E82-9A5F43EFFB1D}"/>
                </c:ext>
              </c:extLst>
            </c:dLbl>
            <c:dLbl>
              <c:idx val="1"/>
              <c:layout>
                <c:manualLayout>
                  <c:x val="-8.7684336388999598E-2"/>
                  <c:y val="-0.10398613518197573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3-5DB3-49C6-8E82-9A5F43EFFB1D}"/>
                </c:ext>
              </c:extLst>
            </c:dLbl>
            <c:dLbl>
              <c:idx val="2"/>
              <c:layout>
                <c:manualLayout>
                  <c:x val="-3.387803905938621E-2"/>
                  <c:y val="-0.16767764298093588"/>
                </c:manualLayout>
              </c:layout>
              <c:numFmt formatCode="#,##0&quot;%&quot;;&quot;-&quot;#,##0&quot;%&quot;" sourceLinked="0"/>
              <c:spPr>
                <a:noFill/>
                <a:ln>
                  <a:noFill/>
                </a:ln>
              </c:spPr>
              <c:txPr>
                <a:bodyPr wrap="none"/>
                <a:lstStyle/>
                <a:p>
                  <a:pPr>
                    <a:defRPr sz="2800" kern="120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pPr xmlns:c15="http://schemas.microsoft.com/office/drawing/2012/chart">
                    <a:prstGeom prst="rect">
                      <a:avLst/>
                    </a:prstGeom>
                  </c15:spPr>
                </c:ext>
                <c:ext xmlns:c16="http://schemas.microsoft.com/office/drawing/2014/chart" uri="{C3380CC4-5D6E-409C-BE32-E72D297353CC}">
                  <c16:uniqueId val="{00000005-5DB3-49C6-8E82-9A5F43EFFB1D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val>
            <c:numRef>
              <c:f>Sheet1!$A$1:$A$3</c:f>
              <c:numCache>
                <c:formatCode>General</c:formatCode>
                <c:ptCount val="3"/>
                <c:pt idx="0">
                  <c:v>83</c:v>
                </c:pt>
                <c:pt idx="1">
                  <c:v>10</c:v>
                </c:pt>
                <c:pt idx="2">
                  <c:v>7.00000000000000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5DB3-49C6-8E82-9A5F43EFFB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</c:plotArea>
    <c:plotVisOnly val="0"/>
    <c:dispBlanksAs val="gap"/>
    <c:showDLblsOverMax val="1"/>
  </c:chart>
  <c:externalData r:id="rId1">
    <c:autoUpdate val="0"/>
  </c:externalData>
</c:chartSpace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ata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_rels/drawing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svg"/><Relationship Id="rId1" Type="http://schemas.openxmlformats.org/officeDocument/2006/relationships/image" Target="../media/image18.png"/><Relationship Id="rId4" Type="http://schemas.openxmlformats.org/officeDocument/2006/relationships/image" Target="../media/image21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99448C13-8718-4005-98FD-48082B2969B0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sz="2800" b="0" i="0" u="none" strike="noStrike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Ou pral rantre nan reyinyon an ak videyo epi mikwo fèmen</a:t>
          </a:r>
        </a:p>
      </dgm:t>
    </dgm:pt>
    <dgm:pt modelId="{740381F6-8F65-45E6-834C-2BFFFDA34B52}" type="sibTrans" cxnId="{99448C13-8718-4005-98FD-48082B2969B0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1315709E-42BC-41B4-842A-B15CD5CF3A1D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sz="2800" b="0" i="0" u="none" strike="noStrike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Ou ka ekri kesyon oswa kòmantè nan Panèl Q&amp;A Zoom nan</a:t>
          </a:r>
        </a:p>
      </dgm:t>
    </dgm:pt>
    <dgm:pt modelId="{C6BC1EE2-6297-4F68-9F23-E980040404AF}" type="sibTrans" cxnId="{1315709E-42BC-41B4-842A-B15CD5CF3A1D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99448C13-8718-4005-98FD-48082B2969B0}" srcId="{4F4A099B-3F3B-4D64-B644-8A93D3D2F41B}" destId="{60AA5E28-2DC2-4B5D-8F41-F6333A758590}" srcOrd="0" destOrd="0" parTransId="{95D52A93-C507-49F7-B5AD-A018D3675E6E}" sibTransId="{740381F6-8F65-45E6-834C-2BFFFDA34B52}"/>
    <dgm:cxn modelId="{9FAB6365-113A-4F92-AB0D-9E663EF9BEBA}" type="presOf" srcId="{60AA5E28-2DC2-4B5D-8F41-F6333A758590}" destId="{13F8F3C7-A9EB-4CC0-B17F-94578B3204DE}" srcOrd="0" destOrd="0" presId="urn:microsoft.com/office/officeart/2018/2/layout/IconCircleList"/>
    <dgm:cxn modelId="{869BF14D-8982-4EBD-9CC6-2D28BDD5E42B}" type="presOf" srcId="{740381F6-8F65-45E6-834C-2BFFFDA34B52}" destId="{223A61D7-27B3-41FD-916E-BE2BE026F678}" srcOrd="0" destOrd="0" presId="urn:microsoft.com/office/officeart/2018/2/layout/IconCircleList"/>
    <dgm:cxn modelId="{1315709E-42BC-41B4-842A-B15CD5CF3A1D}" srcId="{4F4A099B-3F3B-4D64-B644-8A93D3D2F41B}" destId="{2AB3197D-3839-4BA2-A797-8FE2069BC1A3}" srcOrd="1" destOrd="0" parTransId="{7F0419C9-5227-4483-9FFF-F50F7AABB817}" sibTransId="{C6BC1EE2-6297-4F68-9F23-E980040404AF}"/>
    <dgm:cxn modelId="{35D2AEA9-D06A-4C89-879B-1BC07DE44D28}" type="presOf" srcId="{4F4A099B-3F3B-4D64-B644-8A93D3D2F41B}" destId="{096F9BD3-7F33-45CB-B446-E78EE4310BCE}" srcOrd="0" destOrd="0" presId="urn:microsoft.com/office/officeart/2018/2/layout/IconCircleList"/>
    <dgm:cxn modelId="{3E5040E2-0AE1-492A-95CB-9520EEDBE177}" type="presOf" srcId="{2AB3197D-3839-4BA2-A797-8FE2069BC1A3}" destId="{56149493-6F81-4646-A1F4-6363391C9DB6}" srcOrd="0" destOrd="0" presId="urn:microsoft.com/office/officeart/2018/2/layout/IconCircleList"/>
    <dgm:cxn modelId="{AD8AAB40-2E19-4EA4-AC1E-86A2C11DDBDE}" type="presParOf" srcId="{096F9BD3-7F33-45CB-B446-E78EE4310BCE}" destId="{F54E6E22-3A5E-4463-AFB2-61ED98D201A7}" srcOrd="0" destOrd="0" presId="urn:microsoft.com/office/officeart/2018/2/layout/IconCircleList"/>
    <dgm:cxn modelId="{A3D1958B-F625-48D1-98DE-60BCC7A68461}" type="presParOf" srcId="{F54E6E22-3A5E-4463-AFB2-61ED98D201A7}" destId="{E1AB4095-DF5E-4992-98A2-5942995E7073}" srcOrd="0" destOrd="0" presId="urn:microsoft.com/office/officeart/2018/2/layout/IconCircleList"/>
    <dgm:cxn modelId="{BD8A2F8D-84B6-4E52-AFF1-613AFA90F6EF}" type="presParOf" srcId="{E1AB4095-DF5E-4992-98A2-5942995E7073}" destId="{DF4A8D10-EC50-4AB5-AA36-8641C228503D}" srcOrd="0" destOrd="0" presId="urn:microsoft.com/office/officeart/2018/2/layout/IconCircleList"/>
    <dgm:cxn modelId="{105C18E8-5F44-43FF-BF80-95A923BFCE8B}" type="presParOf" srcId="{E1AB4095-DF5E-4992-98A2-5942995E7073}" destId="{79A50BC8-DD6D-455A-84E9-CAC77FC1A1C5}" srcOrd="1" destOrd="0" presId="urn:microsoft.com/office/officeart/2018/2/layout/IconCircleList"/>
    <dgm:cxn modelId="{91206D72-2358-4913-98FC-B7387382DD4A}" type="presParOf" srcId="{E1AB4095-DF5E-4992-98A2-5942995E7073}" destId="{4148BBF7-0768-4FEC-99FD-1DB593AB1125}" srcOrd="2" destOrd="0" presId="urn:microsoft.com/office/officeart/2018/2/layout/IconCircleList"/>
    <dgm:cxn modelId="{422E9D83-5EB3-496C-85F1-5C22ADCDA952}" type="presParOf" srcId="{E1AB4095-DF5E-4992-98A2-5942995E7073}" destId="{13F8F3C7-A9EB-4CC0-B17F-94578B3204DE}" srcOrd="3" destOrd="0" presId="urn:microsoft.com/office/officeart/2018/2/layout/IconCircleList"/>
    <dgm:cxn modelId="{ACE06E83-5EF2-4624-9205-3D83F6F6BFE7}" type="presParOf" srcId="{F54E6E22-3A5E-4463-AFB2-61ED98D201A7}" destId="{223A61D7-27B3-41FD-916E-BE2BE026F678}" srcOrd="1" destOrd="0" presId="urn:microsoft.com/office/officeart/2018/2/layout/IconCircleList"/>
    <dgm:cxn modelId="{4E946646-4B98-483A-BEB3-97588846B595}" type="presParOf" srcId="{F54E6E22-3A5E-4463-AFB2-61ED98D201A7}" destId="{934EFC36-7224-41C5-AD4F-0CAB4BC10557}" srcOrd="2" destOrd="0" presId="urn:microsoft.com/office/officeart/2018/2/layout/IconCircleList"/>
    <dgm:cxn modelId="{665C9D84-952B-4C2F-8F7C-F65A01A9E175}" type="presParOf" srcId="{934EFC36-7224-41C5-AD4F-0CAB4BC10557}" destId="{65AB2DA9-120A-4C91-8EAD-3AA77E040AB4}" srcOrd="0" destOrd="0" presId="urn:microsoft.com/office/officeart/2018/2/layout/IconCircleList"/>
    <dgm:cxn modelId="{3F4EA2AF-3166-4779-9F7B-5CCB35D988FE}" type="presParOf" srcId="{934EFC36-7224-41C5-AD4F-0CAB4BC10557}" destId="{6C4C39E3-A30E-4C95-A570-879E2759E563}" srcOrd="1" destOrd="0" presId="urn:microsoft.com/office/officeart/2018/2/layout/IconCircleList"/>
    <dgm:cxn modelId="{251F07D4-37C2-4087-8ACD-439B66F606BD}" type="presParOf" srcId="{934EFC36-7224-41C5-AD4F-0CAB4BC10557}" destId="{F494E221-DD2D-446B-85C0-D033EAFCBFDC}" srcOrd="2" destOrd="0" presId="urn:microsoft.com/office/officeart/2018/2/layout/IconCircleList"/>
    <dgm:cxn modelId="{0BBE991C-BB27-49CB-91BE-1C35F3D10DE9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main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F4A099B-3F3B-4D64-B644-8A93D3D2F41B}" type="doc">
      <dgm:prSet loTypeId="urn:microsoft.com/office/officeart/2018/2/layout/IconCircle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95D52A93-C507-49F7-B5AD-A018D3675E6E}" type="parTrans" cxnId="{759BE093-3306-4869-AA12-510BC826459C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60AA5E28-2DC2-4B5D-8F41-F6333A758590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sz="2800" b="0" i="0" u="none" strike="noStrike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Ou pral rantre nan reyinyon an ak videyo epi mikwo fèmen</a:t>
          </a:r>
        </a:p>
      </dgm:t>
    </dgm:pt>
    <dgm:pt modelId="{740381F6-8F65-45E6-834C-2BFFFDA34B52}" type="sibTrans" cxnId="{759BE093-3306-4869-AA12-510BC826459C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7F0419C9-5227-4483-9FFF-F50F7AABB817}" type="parTrans" cxnId="{FB132D0C-0B7D-4DE3-93CA-44886BDD5BD7}">
      <dgm:prSet custT="1"/>
      <dgm:spPr/>
      <dgm:t>
        <a:bodyPr/>
        <a:lstStyle/>
        <a:p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2AB3197D-3839-4BA2-A797-8FE2069BC1A3}">
      <dgm:prSet custT="1"/>
      <dgm:spPr/>
      <dgm:t>
        <a:bodyPr>
          <a:noAutofit/>
        </a:bodyPr>
        <a:lstStyle/>
        <a:p>
          <a:pPr rtl="0">
            <a:lnSpc>
              <a:spcPct val="100000"/>
            </a:lnSpc>
          </a:pPr>
          <a:r>
            <a:rPr sz="2800" b="0" i="0" u="none" strike="noStrike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Ou ka ekri kesyon oswa kòmantè nan Panèl Q&amp;A Zoom nan</a:t>
          </a:r>
        </a:p>
      </dgm:t>
    </dgm:pt>
    <dgm:pt modelId="{C6BC1EE2-6297-4F68-9F23-E980040404AF}" type="sibTrans" cxnId="{FB132D0C-0B7D-4DE3-93CA-44886BDD5BD7}">
      <dgm:prSet custT="1"/>
      <dgm:spPr/>
      <dgm:t>
        <a:bodyPr/>
        <a:lstStyle/>
        <a:p>
          <a:pPr>
            <a:lnSpc>
              <a:spcPct val="100000"/>
            </a:lnSpc>
          </a:pPr>
          <a:endParaRPr lang="en-US" sz="2400"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096F9BD3-7F33-45CB-B446-E78EE4310BCE}" type="pres">
      <dgm:prSet presAssocID="{4F4A099B-3F3B-4D64-B644-8A93D3D2F41B}" presName="root" presStyleCnt="0">
        <dgm:presLayoutVars>
          <dgm:dir/>
          <dgm:resizeHandles val="exact"/>
        </dgm:presLayoutVars>
      </dgm:prSet>
      <dgm:spPr/>
    </dgm:pt>
    <dgm:pt modelId="{F54E6E22-3A5E-4463-AFB2-61ED98D201A7}" type="pres">
      <dgm:prSet presAssocID="{4F4A099B-3F3B-4D64-B644-8A93D3D2F41B}" presName="container" presStyleCnt="0">
        <dgm:presLayoutVars>
          <dgm:dir/>
          <dgm:resizeHandles val="exact"/>
        </dgm:presLayoutVars>
      </dgm:prSet>
      <dgm:spPr/>
    </dgm:pt>
    <dgm:pt modelId="{E1AB4095-DF5E-4992-98A2-5942995E7073}" type="pres">
      <dgm:prSet presAssocID="{60AA5E28-2DC2-4B5D-8F41-F6333A758590}" presName="compNode" presStyleCnt="0"/>
      <dgm:spPr/>
    </dgm:pt>
    <dgm:pt modelId="{DF4A8D10-EC50-4AB5-AA36-8641C228503D}" type="pres">
      <dgm:prSet presAssocID="{60AA5E28-2DC2-4B5D-8F41-F6333A758590}" presName="iconBgRect" presStyleLbl="bgShp" presStyleIdx="0" presStyleCnt="2"/>
      <dgm:spPr/>
    </dgm:pt>
    <dgm:pt modelId="{79A50BC8-DD6D-455A-84E9-CAC77FC1A1C5}" type="pres">
      <dgm:prSet presAssocID="{60AA5E28-2DC2-4B5D-8F41-F6333A758590}" presName="iconRect" presStyleLbl="node1" presStyleIdx="0" presStyleCnt="2" custScaleX="133197" custScaleY="133197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s with solid fill"/>
        </a:ext>
      </dgm:extLst>
    </dgm:pt>
    <dgm:pt modelId="{4148BBF7-0768-4FEC-99FD-1DB593AB1125}" type="pres">
      <dgm:prSet presAssocID="{60AA5E28-2DC2-4B5D-8F41-F6333A758590}" presName="spaceRect" presStyleCnt="0"/>
      <dgm:spPr/>
    </dgm:pt>
    <dgm:pt modelId="{13F8F3C7-A9EB-4CC0-B17F-94578B3204DE}" type="pres">
      <dgm:prSet presAssocID="{60AA5E28-2DC2-4B5D-8F41-F6333A758590}" presName="textRect" presStyleLbl="revTx" presStyleIdx="0" presStyleCnt="2">
        <dgm:presLayoutVars>
          <dgm:chMax val="1"/>
          <dgm:chPref val="1"/>
        </dgm:presLayoutVars>
      </dgm:prSet>
      <dgm:spPr/>
    </dgm:pt>
    <dgm:pt modelId="{223A61D7-27B3-41FD-916E-BE2BE026F678}" type="pres">
      <dgm:prSet presAssocID="{740381F6-8F65-45E6-834C-2BFFFDA34B52}" presName="sibTrans" presStyleLbl="sibTrans2D1" presStyleIdx="0" presStyleCnt="0"/>
      <dgm:spPr/>
    </dgm:pt>
    <dgm:pt modelId="{934EFC36-7224-41C5-AD4F-0CAB4BC10557}" type="pres">
      <dgm:prSet presAssocID="{2AB3197D-3839-4BA2-A797-8FE2069BC1A3}" presName="compNode" presStyleCnt="0"/>
      <dgm:spPr/>
    </dgm:pt>
    <dgm:pt modelId="{65AB2DA9-120A-4C91-8EAD-3AA77E040AB4}" type="pres">
      <dgm:prSet presAssocID="{2AB3197D-3839-4BA2-A797-8FE2069BC1A3}" presName="iconBgRect" presStyleLbl="bgShp" presStyleIdx="1" presStyleCnt="2"/>
      <dgm:spPr/>
    </dgm:pt>
    <dgm:pt modelId="{6C4C39E3-A30E-4C95-A570-879E2759E563}" type="pres">
      <dgm:prSet presAssocID="{2AB3197D-3839-4BA2-A797-8FE2069BC1A3}" presName="iconRect" presStyleLbl="node1" presStyleIdx="1" presStyleCnt="2" custScaleX="137446" custScaleY="137446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Question mark"/>
        </a:ext>
      </dgm:extLst>
    </dgm:pt>
    <dgm:pt modelId="{F494E221-DD2D-446B-85C0-D033EAFCBFDC}" type="pres">
      <dgm:prSet presAssocID="{2AB3197D-3839-4BA2-A797-8FE2069BC1A3}" presName="spaceRect" presStyleCnt="0"/>
      <dgm:spPr/>
    </dgm:pt>
    <dgm:pt modelId="{56149493-6F81-4646-A1F4-6363391C9DB6}" type="pres">
      <dgm:prSet presAssocID="{2AB3197D-3839-4BA2-A797-8FE2069BC1A3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D31AD005-6774-4C89-BFE6-F67351F68038}" type="presOf" srcId="{60AA5E28-2DC2-4B5D-8F41-F6333A758590}" destId="{13F8F3C7-A9EB-4CC0-B17F-94578B3204DE}" srcOrd="0" destOrd="0" presId="urn:microsoft.com/office/officeart/2018/2/layout/IconCircleList"/>
    <dgm:cxn modelId="{FB132D0C-0B7D-4DE3-93CA-44886BDD5BD7}" srcId="{4F4A099B-3F3B-4D64-B644-8A93D3D2F41B}" destId="{2AB3197D-3839-4BA2-A797-8FE2069BC1A3}" srcOrd="1" destOrd="0" parTransId="{7F0419C9-5227-4483-9FFF-F50F7AABB817}" sibTransId="{C6BC1EE2-6297-4F68-9F23-E980040404AF}"/>
    <dgm:cxn modelId="{EE26880C-6F1D-47F2-BE10-BBC5DB5AA5F9}" type="presOf" srcId="{2AB3197D-3839-4BA2-A797-8FE2069BC1A3}" destId="{56149493-6F81-4646-A1F4-6363391C9DB6}" srcOrd="0" destOrd="0" presId="urn:microsoft.com/office/officeart/2018/2/layout/IconCircleList"/>
    <dgm:cxn modelId="{C4AB531A-9365-4220-8F4C-C1BE3B4F90E2}" type="presOf" srcId="{4F4A099B-3F3B-4D64-B644-8A93D3D2F41B}" destId="{096F9BD3-7F33-45CB-B446-E78EE4310BCE}" srcOrd="0" destOrd="0" presId="urn:microsoft.com/office/officeart/2018/2/layout/IconCircleList"/>
    <dgm:cxn modelId="{07C12E8C-E8F3-47B5-896A-666E53847DA1}" type="presOf" srcId="{740381F6-8F65-45E6-834C-2BFFFDA34B52}" destId="{223A61D7-27B3-41FD-916E-BE2BE026F678}" srcOrd="0" destOrd="0" presId="urn:microsoft.com/office/officeart/2018/2/layout/IconCircleList"/>
    <dgm:cxn modelId="{759BE093-3306-4869-AA12-510BC826459C}" srcId="{4F4A099B-3F3B-4D64-B644-8A93D3D2F41B}" destId="{60AA5E28-2DC2-4B5D-8F41-F6333A758590}" srcOrd="0" destOrd="0" parTransId="{95D52A93-C507-49F7-B5AD-A018D3675E6E}" sibTransId="{740381F6-8F65-45E6-834C-2BFFFDA34B52}"/>
    <dgm:cxn modelId="{8E97549B-088A-4A9F-87DF-335D68607962}" type="presParOf" srcId="{096F9BD3-7F33-45CB-B446-E78EE4310BCE}" destId="{F54E6E22-3A5E-4463-AFB2-61ED98D201A7}" srcOrd="0" destOrd="0" presId="urn:microsoft.com/office/officeart/2018/2/layout/IconCircleList"/>
    <dgm:cxn modelId="{B6E87261-1183-45D4-867C-06180C845B5F}" type="presParOf" srcId="{F54E6E22-3A5E-4463-AFB2-61ED98D201A7}" destId="{E1AB4095-DF5E-4992-98A2-5942995E7073}" srcOrd="0" destOrd="0" presId="urn:microsoft.com/office/officeart/2018/2/layout/IconCircleList"/>
    <dgm:cxn modelId="{CF123C1F-13CB-4045-BFF8-1497F3374DD7}" type="presParOf" srcId="{E1AB4095-DF5E-4992-98A2-5942995E7073}" destId="{DF4A8D10-EC50-4AB5-AA36-8641C228503D}" srcOrd="0" destOrd="0" presId="urn:microsoft.com/office/officeart/2018/2/layout/IconCircleList"/>
    <dgm:cxn modelId="{09C2F829-3011-4CB9-9D33-3EDAB1B76F81}" type="presParOf" srcId="{E1AB4095-DF5E-4992-98A2-5942995E7073}" destId="{79A50BC8-DD6D-455A-84E9-CAC77FC1A1C5}" srcOrd="1" destOrd="0" presId="urn:microsoft.com/office/officeart/2018/2/layout/IconCircleList"/>
    <dgm:cxn modelId="{25E8285F-3821-4276-A669-99A070A72AB4}" type="presParOf" srcId="{E1AB4095-DF5E-4992-98A2-5942995E7073}" destId="{4148BBF7-0768-4FEC-99FD-1DB593AB1125}" srcOrd="2" destOrd="0" presId="urn:microsoft.com/office/officeart/2018/2/layout/IconCircleList"/>
    <dgm:cxn modelId="{CF5B53C0-5773-4A37-8D38-C1273D554D08}" type="presParOf" srcId="{E1AB4095-DF5E-4992-98A2-5942995E7073}" destId="{13F8F3C7-A9EB-4CC0-B17F-94578B3204DE}" srcOrd="3" destOrd="0" presId="urn:microsoft.com/office/officeart/2018/2/layout/IconCircleList"/>
    <dgm:cxn modelId="{3369A404-AAF2-4037-B763-D438C7DB9288}" type="presParOf" srcId="{F54E6E22-3A5E-4463-AFB2-61ED98D201A7}" destId="{223A61D7-27B3-41FD-916E-BE2BE026F678}" srcOrd="1" destOrd="0" presId="urn:microsoft.com/office/officeart/2018/2/layout/IconCircleList"/>
    <dgm:cxn modelId="{6D6DC499-DE1D-4E34-8F46-2DEC0103B9CF}" type="presParOf" srcId="{F54E6E22-3A5E-4463-AFB2-61ED98D201A7}" destId="{934EFC36-7224-41C5-AD4F-0CAB4BC10557}" srcOrd="2" destOrd="0" presId="urn:microsoft.com/office/officeart/2018/2/layout/IconCircleList"/>
    <dgm:cxn modelId="{F0EB22F9-192D-4020-953D-826E5B88BE2B}" type="presParOf" srcId="{934EFC36-7224-41C5-AD4F-0CAB4BC10557}" destId="{65AB2DA9-120A-4C91-8EAD-3AA77E040AB4}" srcOrd="0" destOrd="0" presId="urn:microsoft.com/office/officeart/2018/2/layout/IconCircleList"/>
    <dgm:cxn modelId="{033AC4A5-8938-4C5C-BCC6-F46C4207E551}" type="presParOf" srcId="{934EFC36-7224-41C5-AD4F-0CAB4BC10557}" destId="{6C4C39E3-A30E-4C95-A570-879E2759E563}" srcOrd="1" destOrd="0" presId="urn:microsoft.com/office/officeart/2018/2/layout/IconCircleList"/>
    <dgm:cxn modelId="{E9C9D325-1E18-4E36-BBF1-E8AFBEA2A1B6}" type="presParOf" srcId="{934EFC36-7224-41C5-AD4F-0CAB4BC10557}" destId="{F494E221-DD2D-446B-85C0-D033EAFCBFDC}" srcOrd="2" destOrd="0" presId="urn:microsoft.com/office/officeart/2018/2/layout/IconCircleList"/>
    <dgm:cxn modelId="{583150CE-F15E-4FA1-B607-586F40740D71}" type="presParOf" srcId="{934EFC36-7224-41C5-AD4F-0CAB4BC10557}" destId="{56149493-6F81-4646-A1F4-6363391C9DB6}" srcOrd="3" destOrd="0" presId="urn:microsoft.com/office/officeart/2018/2/layout/IconCircle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main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2800" b="0" i="0" u="none" strike="noStrike" kern="120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Ou pral rantre nan reyinyon an ak videyo epi mikwo fèmen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2800" b="0" i="0" u="none" strike="noStrike" kern="120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Ou ka ekri kesyon oswa kòmantè nan Panèl Q&amp;A Zoom nan</a:t>
          </a:r>
        </a:p>
      </dsp:txBody>
      <dsp:txXfrm>
        <a:off x="7156830" y="923693"/>
        <a:ext cx="2862109" cy="12142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F4A8D10-EC50-4AB5-AA36-8641C228503D}">
      <dsp:nvSpPr>
        <dsp:cNvPr id="0" name=""/>
        <dsp:cNvSpPr/>
      </dsp:nvSpPr>
      <dsp:spPr>
        <a:xfrm>
          <a:off x="847179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9A50BC8-DD6D-455A-84E9-CAC77FC1A1C5}">
      <dsp:nvSpPr>
        <dsp:cNvPr id="0" name=""/>
        <dsp:cNvSpPr/>
      </dsp:nvSpPr>
      <dsp:spPr>
        <a:xfrm>
          <a:off x="985272" y="1061786"/>
          <a:ext cx="938043" cy="938043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13F8F3C7-A9EB-4CC0-B17F-94578B3204DE}">
      <dsp:nvSpPr>
        <dsp:cNvPr id="0" name=""/>
        <dsp:cNvSpPr/>
      </dsp:nvSpPr>
      <dsp:spPr>
        <a:xfrm>
          <a:off x="2321599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2800" b="0" i="0" u="none" strike="noStrike" kern="120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Ou pral rantre nan reyinyon an ak videyo epi mikwo fèmen</a:t>
          </a:r>
        </a:p>
      </dsp:txBody>
      <dsp:txXfrm>
        <a:off x="2321599" y="923693"/>
        <a:ext cx="2862109" cy="1214228"/>
      </dsp:txXfrm>
    </dsp:sp>
    <dsp:sp modelId="{65AB2DA9-120A-4C91-8EAD-3AA77E040AB4}">
      <dsp:nvSpPr>
        <dsp:cNvPr id="0" name=""/>
        <dsp:cNvSpPr/>
      </dsp:nvSpPr>
      <dsp:spPr>
        <a:xfrm>
          <a:off x="5682410" y="923693"/>
          <a:ext cx="1214228" cy="1214228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C4C39E3-A30E-4C95-A570-879E2759E563}">
      <dsp:nvSpPr>
        <dsp:cNvPr id="0" name=""/>
        <dsp:cNvSpPr/>
      </dsp:nvSpPr>
      <dsp:spPr>
        <a:xfrm>
          <a:off x="5805541" y="1046824"/>
          <a:ext cx="967966" cy="967966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6149493-6F81-4646-A1F4-6363391C9DB6}">
      <dsp:nvSpPr>
        <dsp:cNvPr id="0" name=""/>
        <dsp:cNvSpPr/>
      </dsp:nvSpPr>
      <dsp:spPr>
        <a:xfrm>
          <a:off x="7156830" y="923693"/>
          <a:ext cx="2862109" cy="121422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ctr" anchorCtr="0">
          <a:noAutofit/>
        </a:bodyPr>
        <a:lstStyle/>
        <a:p>
          <a:pPr marL="0" lvl="0" indent="0" algn="l" defTabSz="1244600" rtl="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sz="2800" b="0" i="0" u="none" strike="noStrike" kern="1200">
              <a:highlight>
                <a:srgbClr val="000000">
                  <a:alpha val="0"/>
                </a:srgbClr>
              </a:highlight>
              <a:latin typeface="Arial"/>
              <a:cs typeface="Arial"/>
            </a:rPr>
            <a:t>Ou ka ekri kesyon oswa kòmantè nan Panèl Q&amp;A Zoom nan</a:t>
          </a:r>
        </a:p>
      </dsp:txBody>
      <dsp:txXfrm>
        <a:off x="7156830" y="923693"/>
        <a:ext cx="2862109" cy="121422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18/2/layout/IconCircleList">
  <dgm:title val="Icon Circle List"/>
  <dgm:desc val="Use to show non-sequential or grouped chunks of information accompanied by related visuals. Circular shapes can hold an icon or small picture and corresponding text box shows Level 1 text. Works best for icons or small pictures with medium-length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alg type="sp"/>
    <dgm:shape xmlns:r="http://schemas.openxmlformats.org/officeDocument/2006/relationships" r:blip="">
      <dgm:adjLst/>
    </dgm:shape>
    <dgm:presOf/>
    <dgm:choose name="Name0">
      <dgm:if name="Name1" axis="ch" ptType="node" func="cnt" op="lte" val="3">
        <dgm:constrLst>
          <dgm:constr type="w" for="ch" forName="container" refType="w"/>
          <dgm:constr type="h" for="ch" forName="container" refType="h" fact="0.4"/>
        </dgm:constrLst>
      </dgm:if>
      <dgm:else name="Name2">
        <dgm:constrLst>
          <dgm:constr type="w" for="ch" forName="container" refType="w"/>
          <dgm:constr type="h" for="ch" forName="container" refType="h"/>
        </dgm:constrLst>
      </dgm:else>
    </dgm:choose>
    <dgm:ruleLst>
      <dgm:rule type="h" for="ch" forName="container" val="INF" fact="NaN" max="NaN"/>
    </dgm:ruleLst>
    <dgm:layoutNode name="container">
      <dgm:varLst>
        <dgm:dir/>
        <dgm:resizeHandles val="exact"/>
      </dgm:varLst>
      <dgm:choose name="Name3">
        <dgm:if name="Name4" axis="self" func="var" arg="dir" op="equ" val="norm">
          <dgm:alg type="snake">
            <dgm:param type="grDir" val="tL"/>
            <dgm:param type="flowDir" val="row"/>
            <dgm:param type="contDir" val="sameDir"/>
          </dgm:alg>
        </dgm:if>
        <dgm:else name="Name5">
          <dgm:alg type="snake">
            <dgm:param type="grDir" val="tR"/>
            <dgm:param type="flowDir" val="row"/>
            <dgm:param type="contDir" val="sameDi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w" fact="0.28"/>
        <dgm:constr type="w" for="ch" forName="sibTrans" refType="w" refFor="ch" refForName="compNode" fact="0.115"/>
        <dgm:constr type="sp" refType="h" op="equ" fact="0.17"/>
        <dgm:constr type="primFontSz" for="des" ptType="node" op="equ" val="24"/>
        <dgm:constr type="h" for="des" forName="compNode" op="equ"/>
        <dgm:constr type="h" for="des" forName="iconBgRect" op="equ"/>
      </dgm:constrLst>
      <dgm:ruleLst>
        <dgm:rule type="w" for="ch" forName="compNode" val="60" fact="NaN" max="NaN"/>
      </dgm:ruleLst>
      <dgm:forEach name="Name6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 axis="self"/>
          <dgm:constrLst>
            <dgm:constr type="w" for="ch" forName="iconBgRect" refType="w" fact="0.28"/>
            <dgm:constr type="h" for="ch" forName="iconBgRect" refType="w" refFor="ch" refForName="iconBgRect"/>
            <dgm:constr type="t" for="ch" forName="iconBgRect"/>
            <dgm:constr type="l" for="ch" forName="iconBgRect"/>
            <dgm:constr type="w" for="ch" forName="iconRect" refType="w" refFor="ch" refForName="iconBgRect" fact="0.58"/>
            <dgm:constr type="h" for="ch" forName="iconRect" refType="w" refFor="ch" refForName="iconRect"/>
            <dgm:constr type="ctrX" for="ch" forName="iconRect" refType="ctrX" refFor="ch" refForName="iconBgRect"/>
            <dgm:constr type="ctrY" for="ch" forName="iconRect" refType="ctrY" refFor="ch" refForName="iconBgRect"/>
            <dgm:constr type="w" for="ch" forName="spaceRect" refType="w" fact="0.06"/>
            <dgm:constr type="h" for="ch" forName="spaceRect" refType="h" refFor="ch" refForName="iconBgRect"/>
            <dgm:constr type="t" for="ch" forName="spaceRect" refType="t" refFor="ch" refForName="iconBgRect"/>
            <dgm:constr type="l" for="ch" forName="spaceRect" refType="r" refFor="ch" refForName="iconBgRect"/>
            <dgm:constr type="h" for="ch" forName="textRect" refType="h" refFor="ch" refForName="iconBgRect"/>
            <dgm:constr type="t" for="ch" forName="textRect" refType="t" refFor="ch" refForName="iconBgRect"/>
            <dgm:constr type="l" for="ch" forName="textRect" refType="r" refFor="ch" refForName="spaceRect"/>
          </dgm:constrLst>
          <dgm:ruleLst/>
          <dgm:layoutNode name="iconBgRect" styleLbl="bgShp">
            <dgm:alg type="sp"/>
            <dgm:shape xmlns:r="http://schemas.openxmlformats.org/officeDocument/2006/relationships" type="ellipse" r:blip="">
              <dgm:adjLst/>
            </dgm:shape>
            <dgm:presOf/>
            <dgm:constrLst/>
            <dgm:ruleLst/>
          </dgm:layoutNode>
          <dgm:layoutNode name="iconRect" styleLbl="node1">
            <dgm:alg type="sp"/>
            <dgm:shape xmlns:r="http://schemas.openxmlformats.org/officeDocument/2006/relationships" type="rect" r:blip="" blipPhldr="1">
              <dgm:adjLst/>
            </dgm:shape>
            <dgm:presOf/>
            <dgm:constrLst/>
            <dgm:ruleLst/>
          </dgm:layoutNode>
          <dgm:layoutNode name="spaceRect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textRect" styleLbl="revTx">
            <dgm:varLst>
              <dgm:chMax val="1"/>
              <dgm:chPref val="1"/>
            </dgm:varLst>
            <dgm:choose name="Name7">
              <dgm:if name="Name8" func="var" arg="dir" op="equ" val="norm">
                <dgm:alg type="tx">
                  <dgm:param type="txAnchorVert" val="mid"/>
                  <dgm:param type="parTxLTRAlign" val="l"/>
                  <dgm:param type="shpTxLTRAlignCh" val="l"/>
                  <dgm:param type="parTxRTLAlign" val="l"/>
                  <dgm:param type="shpTxRTLAlignCh" val="l"/>
                </dgm:alg>
              </dgm:if>
              <dgm:else name="Name9">
                <dgm:alg type="tx">
                  <dgm:param type="txAnchorVert" val="mid"/>
                  <dgm:param type="parTxLTRAlign" val="r"/>
                  <dgm:param type="shpTxLTRAlignCh" val="r"/>
                  <dgm:param type="parTxRTLAlign" val="r"/>
                  <dgm:param type="shpTxRTLAlignCh" val="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onstrLst>
              <dgm:constr type="lMarg"/>
              <dgm:constr type="rMarg"/>
              <dgm:constr type="tMarg"/>
              <dgm:constr type="bMarg"/>
            </dgm:constrLst>
            <dgm:ruleLst>
              <dgm:rule type="primFontSz" val="11" fact="NaN" max="NaN"/>
            </dgm:ruleLst>
          </dgm:layoutNode>
        </dgm:layoutNode>
        <dgm:forEach name="Name10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338" y="0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9EB7E12-54D4-4C67-9570-168A88C5EAD8}" type="datetimeFigureOut">
              <a:rPr lang="en-US" smtClean="0"/>
              <a:t>7/13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675" y="4473575"/>
            <a:ext cx="5607050" cy="366077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338" y="8829675"/>
            <a:ext cx="3038475" cy="466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03542B3-F54D-4CDE-82D3-11511A72FE2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96965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43451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C08F71-2F44-487C-B277-B59DFCD7661A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686910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fld id="{BF59E565-8FC5-41F0-AACB-E806946EB85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6067380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281107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7165353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03542B3-F54D-4CDE-82D3-11511A72FE2E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134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11396-DFA7-4CCB-84D9-678E61D563F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1C8653E2-4405-420F-98C2-321F83DC175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1E71F64-74D8-4920-9544-FC74BF1B4CA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B6F5D094-A883-4753-8F81-B883AB2B73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5CA5F2D-27AD-48BC-AAD3-B915799B79D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95719783"/>
      </p:ext>
    </p:extLst>
  </p:cSld>
  <p:clrMapOvr>
    <a:masterClrMapping/>
  </p:clrMapOvr>
  <p:transition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5711D42-7AEE-4901-B3A8-EA1C863AB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102E7EF-02E8-470A-93BE-12258C1A6EB6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3BBAF82-9157-467D-B906-55C320EBC72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305C780-4DDF-428F-9D76-D35A33EEFD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DBC3997-4EFB-4F8F-B7DF-713A25221A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0427885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57C4C7F2-A9D4-4281-9995-94A18D088E6E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8BD43AEF-E526-438A-AF5B-A34D54FD750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B66BA93-2177-4955-961C-A67FA31CE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60A085C-2275-4818-80E1-B85C498A3B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06F9572-1922-4E4B-8986-330627BD1F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8661006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pecific Subject - Content no_log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2"/>
          <p:cNvSpPr>
            <a:spLocks noGrp="1"/>
          </p:cNvSpPr>
          <p:nvPr>
            <p:ph type="pic" sz="quarter" idx="13"/>
          </p:nvPr>
        </p:nvSpPr>
        <p:spPr>
          <a:xfrm>
            <a:off x="0" y="6592072"/>
            <a:ext cx="12192000" cy="265928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690688"/>
            <a:ext cx="10515600" cy="4486275"/>
          </a:xfrm>
        </p:spPr>
        <p:txBody>
          <a:bodyPr/>
          <a:lstStyle>
            <a:lvl1pPr>
              <a:buClr>
                <a:srgbClr val="00ADB5"/>
              </a:buClr>
              <a:defRPr/>
            </a:lvl1pPr>
            <a:lvl2pPr>
              <a:buClr>
                <a:srgbClr val="00ADB5"/>
              </a:buClr>
              <a:defRPr/>
            </a:lvl2pPr>
            <a:lvl3pPr>
              <a:buClr>
                <a:srgbClr val="00ADB5"/>
              </a:buClr>
              <a:defRPr/>
            </a:lvl3pPr>
            <a:lvl4pPr>
              <a:buClr>
                <a:srgbClr val="00ADB5"/>
              </a:buClr>
              <a:defRPr/>
            </a:lvl4pPr>
            <a:lvl5pPr>
              <a:buClr>
                <a:srgbClr val="00ADB5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Working Group #10, August 18, 2020 – Slide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82057C4-A5E3-457A-B954-93E2840376F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215541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A9B7A4-C9CE-473D-AFD4-05F05FFDA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5E326C-F78C-4379-91A8-C8312F64E3F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E4A1F1C2-8774-42CD-97A4-25F123C936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94E816B4-1FA7-4C29-BEE0-2097A4D68B7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A9F79A2E-7A04-4F11-9903-0F0610D03B0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</p:spTree>
    <p:extLst>
      <p:ext uri="{BB962C8B-B14F-4D97-AF65-F5344CB8AC3E}">
        <p14:creationId xmlns:p14="http://schemas.microsoft.com/office/powerpoint/2010/main" val="33347855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C6C29C4-DE43-4A44-9301-46AF8429A9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6B10F39-4553-4A0A-8C0E-A596F985FF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F8EBC95-FE79-4679-AD0E-5AB0FF4D2D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411A8F9A-8EF0-4476-BA7E-E6957E24CD8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33E88BEA-41AE-4BF7-A3C1-F9CDA0EE82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5180557"/>
      </p:ext>
    </p:extLst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F6714-5F1B-49DA-A649-E81DF36A3A6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7519F63-EC57-4704-8894-C1E60141DDC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84CAE8A-B8E9-4CE0-B65D-A1403F08E2A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8F72FD7-2C83-482C-B5EB-521F04A0754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84E2D41C-EAE0-4DC9-9A3A-91D30C129F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D883A73-6F22-408F-957E-4F8E9C78D4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629068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4F56BF8-3F5A-42E0-96F4-D007C3C155B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D0BF24-56C9-44E4-B8BC-01CD159392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ABDF7FB-B694-40D9-8158-397E1D3D935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375073B-C5FD-492D-9B10-A6CF335CF55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002F9BF-2077-4BE7-92CD-EF351FFFECA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Date Placeholder 3">
            <a:extLst>
              <a:ext uri="{FF2B5EF4-FFF2-40B4-BE49-F238E27FC236}">
                <a16:creationId xmlns:a16="http://schemas.microsoft.com/office/drawing/2014/main" id="{C7C43D8C-29B0-4108-A9E3-213C5014A3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3E44E85C-BCB7-49E0-A848-21BB3F3623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6247D30-897E-440F-99BB-B733D4F5C7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025857"/>
      </p:ext>
    </p:extLst>
  </p:cSld>
  <p:clrMapOvr>
    <a:masterClrMapping/>
  </p:clrMapOvr>
  <p:transition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EAF277-CC1D-4893-BAFA-E30C537898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Date Placeholder 3">
            <a:extLst>
              <a:ext uri="{FF2B5EF4-FFF2-40B4-BE49-F238E27FC236}">
                <a16:creationId xmlns:a16="http://schemas.microsoft.com/office/drawing/2014/main" id="{7CDA6A11-6051-43E3-9B9A-342B1862076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AA06A01B-BECC-48FE-9C90-5DA81E5FFA3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AC7661D3-5DF5-4C14-875F-770D51D41F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4344005"/>
      </p:ext>
    </p:extLst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F7BA6A52-AEFE-4681-8C5C-7FA07FA77C2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79DAC1B-1DC0-4B74-9AC2-325EE7B5153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5895B1-7071-452C-BBEB-8125F4DCBE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7285112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22CB2B-2573-477F-B095-C243077278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AD74EBD-584D-44E2-BC50-9CFB04D86BB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6540EA6-1D58-4564-A13C-D2323740E28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A51AA7D7-4E3C-49DB-A30C-DDF2BEAFDAD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4F2E7599-9519-49AC-96F6-129A424B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D94946-80F8-4382-A362-2C63B1602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0042567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D27068-96F0-49CF-AF15-DB9F10D98D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97D8B9A-7495-4C72-8923-0C81216B16F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74DF8D-F518-472B-BB55-6AFC87D4361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34AE8DE2-AF0E-43A3-8044-AB01229946B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574718"/>
            <a:ext cx="2743200" cy="262814"/>
          </a:xfrm>
        </p:spPr>
        <p:txBody>
          <a:bodyPr/>
          <a:lstStyle/>
          <a:p>
            <a:r>
              <a:rPr lang="en-US"/>
              <a:t>August 2018</a:t>
            </a:r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B0081D25-3A0E-4D68-8C16-F79D69575FA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574717"/>
            <a:ext cx="4114800" cy="262815"/>
          </a:xfrm>
        </p:spPr>
        <p:txBody>
          <a:bodyPr/>
          <a:lstStyle/>
          <a:p>
            <a:r>
              <a:rPr lang="en-US"/>
              <a:t>Cambridge Community Development Department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654A6C-2F0D-4FF6-B62E-2B662961CB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574717"/>
            <a:ext cx="2743200" cy="262815"/>
          </a:xfrm>
        </p:spPr>
        <p:txBody>
          <a:bodyPr/>
          <a:lstStyle/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4477953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8746650-A96D-42FA-A0C6-6AECA7083A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A1C1B9-7BAB-49D6-98F0-C5355C03E1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7EA48AD-B664-4C5B-8182-8863757906C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574718"/>
            <a:ext cx="2743200" cy="26281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August 2018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E31D46E-8675-4733-9B58-8FB7D620D76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574717"/>
            <a:ext cx="41148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en-US"/>
              <a:t>Cambridge Community Development Department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FD319C5-E358-4E84-AC7C-CEFFACB1A4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574717"/>
            <a:ext cx="2743200" cy="26281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502A50A-B37B-4069-B760-9762B3BAD01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095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</p:sldLayoutIdLst>
  <p:transition/>
  <p:hf sldNum="0"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.jpeg"/><Relationship Id="rId4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svg"/><Relationship Id="rId13" Type="http://schemas.openxmlformats.org/officeDocument/2006/relationships/image" Target="../media/image14.png"/><Relationship Id="rId3" Type="http://schemas.openxmlformats.org/officeDocument/2006/relationships/image" Target="../media/image4.png"/><Relationship Id="rId7" Type="http://schemas.openxmlformats.org/officeDocument/2006/relationships/image" Target="../media/image8.png"/><Relationship Id="rId12" Type="http://schemas.openxmlformats.org/officeDocument/2006/relationships/image" Target="../media/image13.svg"/><Relationship Id="rId2" Type="http://schemas.openxmlformats.org/officeDocument/2006/relationships/notesSlide" Target="../notesSlides/notesSlide2.xml"/><Relationship Id="rId16" Type="http://schemas.openxmlformats.org/officeDocument/2006/relationships/image" Target="../media/image17.sv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7.svg"/><Relationship Id="rId11" Type="http://schemas.openxmlformats.org/officeDocument/2006/relationships/image" Target="../media/image12.png"/><Relationship Id="rId5" Type="http://schemas.openxmlformats.org/officeDocument/2006/relationships/image" Target="../media/image6.png"/><Relationship Id="rId15" Type="http://schemas.openxmlformats.org/officeDocument/2006/relationships/image" Target="../media/image16.png"/><Relationship Id="rId10" Type="http://schemas.openxmlformats.org/officeDocument/2006/relationships/image" Target="../media/image11.svg"/><Relationship Id="rId4" Type="http://schemas.openxmlformats.org/officeDocument/2006/relationships/image" Target="../media/image5.svg"/><Relationship Id="rId9" Type="http://schemas.openxmlformats.org/officeDocument/2006/relationships/image" Target="../media/image10.png"/><Relationship Id="rId14" Type="http://schemas.openxmlformats.org/officeDocument/2006/relationships/image" Target="../media/image15.svg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7" Type="http://schemas.openxmlformats.org/officeDocument/2006/relationships/image" Target="../media/image22.png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hyperlink" Target="https://bit.ly/FFFupdates" TargetMode="External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tags" Target="../tags/tag4.xml"/><Relationship Id="rId7" Type="http://schemas.openxmlformats.org/officeDocument/2006/relationships/chart" Target="../charts/chart1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2.xml"/><Relationship Id="rId5" Type="http://schemas.openxmlformats.org/officeDocument/2006/relationships/tags" Target="../tags/tag6.xml"/><Relationship Id="rId4" Type="http://schemas.openxmlformats.org/officeDocument/2006/relationships/tags" Target="../tags/tag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27CC345D-F1D6-4C2C-A33C-0C48F59A7642}"/>
              </a:ext>
            </a:extLst>
          </p:cNvPr>
          <p:cNvSpPr txBox="1"/>
          <p:nvPr/>
        </p:nvSpPr>
        <p:spPr>
          <a:xfrm>
            <a:off x="557152" y="1167942"/>
            <a:ext cx="5719010" cy="830997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2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Depatman Devlopman Kominotè Vil Cambridge</a:t>
            </a:r>
          </a:p>
        </p:txBody>
      </p:sp>
      <p:sp>
        <p:nvSpPr>
          <p:cNvPr id="15" name="Title 14">
            <a:extLst>
              <a:ext uri="{FF2B5EF4-FFF2-40B4-BE49-F238E27FC236}">
                <a16:creationId xmlns:a16="http://schemas.microsoft.com/office/drawing/2014/main" id="{C326D269-7F41-4E44-8A13-AE1B695E8677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557152" y="2671024"/>
            <a:ext cx="6226626" cy="1754326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36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Pwogram Demonstrasyon Bilding San Gaz Fosil - Apèsi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5B90E77-7E96-13CD-A0C5-93F1CBBC75ED}"/>
              </a:ext>
            </a:extLst>
          </p:cNvPr>
          <p:cNvSpPr txBox="1"/>
          <p:nvPr/>
        </p:nvSpPr>
        <p:spPr>
          <a:xfrm>
            <a:off x="557152" y="4436028"/>
            <a:ext cx="5719010" cy="46166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2400" b="0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</a:t>
            </a:r>
          </a:p>
        </p:txBody>
      </p:sp>
      <p:pic>
        <p:nvPicPr>
          <p:cNvPr id="21" name="Picture 20" descr="Aerial view of Cambridge">
            <a:extLst>
              <a:ext uri="{FF2B5EF4-FFF2-40B4-BE49-F238E27FC236}">
                <a16:creationId xmlns:a16="http://schemas.microsoft.com/office/drawing/2014/main" id="{210CE73C-95C7-4522-A7BB-41FC50781EF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9778"/>
          <a:stretch>
            <a:fillRect/>
          </a:stretch>
        </p:blipFill>
        <p:spPr>
          <a:xfrm>
            <a:off x="7259977" y="296562"/>
            <a:ext cx="4595625" cy="6095505"/>
          </a:xfrm>
          <a:prstGeom prst="rect">
            <a:avLst/>
          </a:prstGeom>
        </p:spPr>
      </p:pic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89AD31A0-C17E-4210-9A60-6FA60B458B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657495C8-2988-4E6E-B88D-A8BC79E12FE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CDD logo">
            <a:extLst>
              <a:ext uri="{FF2B5EF4-FFF2-40B4-BE49-F238E27FC236}">
                <a16:creationId xmlns:a16="http://schemas.microsoft.com/office/drawing/2014/main" id="{6D811143-9518-4082-8E3D-458C3A92020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7285" y="5559056"/>
            <a:ext cx="723630" cy="723630"/>
          </a:xfrm>
          <a:prstGeom prst="rect">
            <a:avLst/>
          </a:prstGeom>
        </p:spPr>
      </p:pic>
      <p:sp>
        <p:nvSpPr>
          <p:cNvPr id="22" name="Freeform: Shape 21">
            <a:extLst>
              <a:ext uri="{FF2B5EF4-FFF2-40B4-BE49-F238E27FC236}">
                <a16:creationId xmlns:a16="http://schemas.microsoft.com/office/drawing/2014/main" id="{D9793570-47BE-49A6-A6D0-DC7D984EFEB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236917" y="68944"/>
            <a:ext cx="5924603" cy="6585938"/>
          </a:xfrm>
          <a:custGeom>
            <a:avLst/>
            <a:gdLst>
              <a:gd name="connsiteX0" fmla="*/ 37830 w 5924603"/>
              <a:gd name="connsiteY0" fmla="*/ 1331839 h 6585938"/>
              <a:gd name="connsiteX1" fmla="*/ 5772203 w 5924603"/>
              <a:gd name="connsiteY1" fmla="*/ 1331839 h 6585938"/>
              <a:gd name="connsiteX2" fmla="*/ 5772203 w 5924603"/>
              <a:gd name="connsiteY2" fmla="*/ 1500371 h 6585938"/>
              <a:gd name="connsiteX3" fmla="*/ 1113294 w 5924603"/>
              <a:gd name="connsiteY3" fmla="*/ 1500371 h 6585938"/>
              <a:gd name="connsiteX4" fmla="*/ 1113294 w 5924603"/>
              <a:gd name="connsiteY4" fmla="*/ 2671644 h 6585938"/>
              <a:gd name="connsiteX5" fmla="*/ 5924603 w 5924603"/>
              <a:gd name="connsiteY5" fmla="*/ 2671644 h 6585938"/>
              <a:gd name="connsiteX6" fmla="*/ 5924603 w 5924603"/>
              <a:gd name="connsiteY6" fmla="*/ 2840177 h 6585938"/>
              <a:gd name="connsiteX7" fmla="*/ 1627158 w 5924603"/>
              <a:gd name="connsiteY7" fmla="*/ 2840177 h 6585938"/>
              <a:gd name="connsiteX8" fmla="*/ 1627158 w 5924603"/>
              <a:gd name="connsiteY8" fmla="*/ 3918462 h 6585938"/>
              <a:gd name="connsiteX9" fmla="*/ 5891023 w 5924603"/>
              <a:gd name="connsiteY9" fmla="*/ 3918462 h 6585938"/>
              <a:gd name="connsiteX10" fmla="*/ 5891023 w 5924603"/>
              <a:gd name="connsiteY10" fmla="*/ 4086995 h 6585938"/>
              <a:gd name="connsiteX11" fmla="*/ 2019972 w 5924603"/>
              <a:gd name="connsiteY11" fmla="*/ 4086995 h 6585938"/>
              <a:gd name="connsiteX12" fmla="*/ 2019972 w 5924603"/>
              <a:gd name="connsiteY12" fmla="*/ 5194502 h 6585938"/>
              <a:gd name="connsiteX13" fmla="*/ 5891022 w 5924603"/>
              <a:gd name="connsiteY13" fmla="*/ 5194502 h 6585938"/>
              <a:gd name="connsiteX14" fmla="*/ 5891022 w 5924603"/>
              <a:gd name="connsiteY14" fmla="*/ 5363035 h 6585938"/>
              <a:gd name="connsiteX15" fmla="*/ 2487126 w 5924603"/>
              <a:gd name="connsiteY15" fmla="*/ 5363035 h 6585938"/>
              <a:gd name="connsiteX16" fmla="*/ 2487126 w 5924603"/>
              <a:gd name="connsiteY16" fmla="*/ 6585938 h 6585938"/>
              <a:gd name="connsiteX17" fmla="*/ 0 w 5924603"/>
              <a:gd name="connsiteY17" fmla="*/ 6585938 h 6585938"/>
              <a:gd name="connsiteX18" fmla="*/ 0 w 5924603"/>
              <a:gd name="connsiteY18" fmla="*/ 5328384 h 6585938"/>
              <a:gd name="connsiteX19" fmla="*/ 156649 w 5924603"/>
              <a:gd name="connsiteY19" fmla="*/ 5328384 h 6585938"/>
              <a:gd name="connsiteX20" fmla="*/ 156649 w 5924603"/>
              <a:gd name="connsiteY20" fmla="*/ 5260282 h 6585938"/>
              <a:gd name="connsiteX21" fmla="*/ 123072 w 5924603"/>
              <a:gd name="connsiteY21" fmla="*/ 5260282 h 6585938"/>
              <a:gd name="connsiteX22" fmla="*/ 123072 w 5924603"/>
              <a:gd name="connsiteY22" fmla="*/ 4002728 h 6585938"/>
              <a:gd name="connsiteX23" fmla="*/ 156650 w 5924603"/>
              <a:gd name="connsiteY23" fmla="*/ 4002728 h 6585938"/>
              <a:gd name="connsiteX24" fmla="*/ 156650 w 5924603"/>
              <a:gd name="connsiteY24" fmla="*/ 3918462 h 6585938"/>
              <a:gd name="connsiteX25" fmla="*/ 237641 w 5924603"/>
              <a:gd name="connsiteY25" fmla="*/ 3918462 h 6585938"/>
              <a:gd name="connsiteX26" fmla="*/ 237641 w 5924603"/>
              <a:gd name="connsiteY26" fmla="*/ 2840177 h 6585938"/>
              <a:gd name="connsiteX27" fmla="*/ 190230 w 5924603"/>
              <a:gd name="connsiteY27" fmla="*/ 2840177 h 6585938"/>
              <a:gd name="connsiteX28" fmla="*/ 190230 w 5924603"/>
              <a:gd name="connsiteY28" fmla="*/ 2698988 h 6585938"/>
              <a:gd name="connsiteX29" fmla="*/ 67159 w 5924603"/>
              <a:gd name="connsiteY29" fmla="*/ 2698988 h 6585938"/>
              <a:gd name="connsiteX30" fmla="*/ 67159 w 5924603"/>
              <a:gd name="connsiteY30" fmla="*/ 1500371 h 6585938"/>
              <a:gd name="connsiteX31" fmla="*/ 37830 w 5924603"/>
              <a:gd name="connsiteY31" fmla="*/ 1500371 h 6585938"/>
              <a:gd name="connsiteX32" fmla="*/ 37829 w 5924603"/>
              <a:gd name="connsiteY32" fmla="*/ 0 h 6585938"/>
              <a:gd name="connsiteX33" fmla="*/ 5772202 w 5924603"/>
              <a:gd name="connsiteY33" fmla="*/ 0 h 6585938"/>
              <a:gd name="connsiteX34" fmla="*/ 5772202 w 5924603"/>
              <a:gd name="connsiteY34" fmla="*/ 224331 h 6585938"/>
              <a:gd name="connsiteX35" fmla="*/ 37829 w 5924603"/>
              <a:gd name="connsiteY35" fmla="*/ 224331 h 65859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</a:cxnLst>
            <a:rect l="l" t="t" r="r" b="b"/>
            <a:pathLst>
              <a:path w="5924603" h="6585938">
                <a:moveTo>
                  <a:pt x="37830" y="1331839"/>
                </a:moveTo>
                <a:lnTo>
                  <a:pt x="5772203" y="1331839"/>
                </a:lnTo>
                <a:lnTo>
                  <a:pt x="5772203" y="1500371"/>
                </a:lnTo>
                <a:lnTo>
                  <a:pt x="1113294" y="1500371"/>
                </a:lnTo>
                <a:lnTo>
                  <a:pt x="1113294" y="2671644"/>
                </a:lnTo>
                <a:lnTo>
                  <a:pt x="5924603" y="2671644"/>
                </a:lnTo>
                <a:lnTo>
                  <a:pt x="5924603" y="2840177"/>
                </a:lnTo>
                <a:lnTo>
                  <a:pt x="1627158" y="2840177"/>
                </a:lnTo>
                <a:lnTo>
                  <a:pt x="1627158" y="3918462"/>
                </a:lnTo>
                <a:lnTo>
                  <a:pt x="5891023" y="3918462"/>
                </a:lnTo>
                <a:lnTo>
                  <a:pt x="5891023" y="4086995"/>
                </a:lnTo>
                <a:lnTo>
                  <a:pt x="2019972" y="4086995"/>
                </a:lnTo>
                <a:lnTo>
                  <a:pt x="2019972" y="5194502"/>
                </a:lnTo>
                <a:lnTo>
                  <a:pt x="5891022" y="5194502"/>
                </a:lnTo>
                <a:lnTo>
                  <a:pt x="5891022" y="5363035"/>
                </a:lnTo>
                <a:lnTo>
                  <a:pt x="2487126" y="5363035"/>
                </a:lnTo>
                <a:lnTo>
                  <a:pt x="2487126" y="6585938"/>
                </a:lnTo>
                <a:lnTo>
                  <a:pt x="0" y="6585938"/>
                </a:lnTo>
                <a:lnTo>
                  <a:pt x="0" y="5328384"/>
                </a:lnTo>
                <a:lnTo>
                  <a:pt x="156649" y="5328384"/>
                </a:lnTo>
                <a:lnTo>
                  <a:pt x="156649" y="5260282"/>
                </a:lnTo>
                <a:lnTo>
                  <a:pt x="123072" y="5260282"/>
                </a:lnTo>
                <a:lnTo>
                  <a:pt x="123072" y="4002728"/>
                </a:lnTo>
                <a:lnTo>
                  <a:pt x="156650" y="4002728"/>
                </a:lnTo>
                <a:lnTo>
                  <a:pt x="156650" y="3918462"/>
                </a:lnTo>
                <a:lnTo>
                  <a:pt x="237641" y="3918462"/>
                </a:lnTo>
                <a:lnTo>
                  <a:pt x="237641" y="2840177"/>
                </a:lnTo>
                <a:lnTo>
                  <a:pt x="190230" y="2840177"/>
                </a:lnTo>
                <a:lnTo>
                  <a:pt x="190230" y="2698988"/>
                </a:lnTo>
                <a:lnTo>
                  <a:pt x="67159" y="2698988"/>
                </a:lnTo>
                <a:lnTo>
                  <a:pt x="67159" y="1500371"/>
                </a:lnTo>
                <a:lnTo>
                  <a:pt x="37830" y="1500371"/>
                </a:lnTo>
                <a:close/>
                <a:moveTo>
                  <a:pt x="37829" y="0"/>
                </a:moveTo>
                <a:lnTo>
                  <a:pt x="5772202" y="0"/>
                </a:lnTo>
                <a:lnTo>
                  <a:pt x="5772202" y="224331"/>
                </a:lnTo>
                <a:lnTo>
                  <a:pt x="37829" y="224331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6" name="Picture 5" descr="City seal">
            <a:extLst>
              <a:ext uri="{FF2B5EF4-FFF2-40B4-BE49-F238E27FC236}">
                <a16:creationId xmlns:a16="http://schemas.microsoft.com/office/drawing/2014/main" id="{26674E0B-912D-4C98-8001-D49400E18B3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720" y="5516552"/>
            <a:ext cx="812134" cy="812134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01F86F2B-DD5A-C2FE-BD8E-43810D315F1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948984" y="296562"/>
            <a:ext cx="189823" cy="526249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3482831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28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lan Aksyon Zewo Nèt la gen aksyon pou adrese emisyon gaz nan bilding ki la deja ak nouvo bilding y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3" name="Rectangle 2" descr="Highlight around Action 2.1">
            <a:extLst>
              <a:ext uri="{FF2B5EF4-FFF2-40B4-BE49-F238E27FC236}">
                <a16:creationId xmlns:a16="http://schemas.microsoft.com/office/drawing/2014/main" id="{226BD9C4-BF15-34A4-D236-D02E4550FE5C}"/>
              </a:ext>
            </a:extLst>
          </p:cNvPr>
          <p:cNvSpPr/>
          <p:nvPr/>
        </p:nvSpPr>
        <p:spPr>
          <a:xfrm>
            <a:off x="5492380" y="2728468"/>
            <a:ext cx="1097280" cy="1049082"/>
          </a:xfrm>
          <a:prstGeom prst="rect">
            <a:avLst/>
          </a:prstGeom>
          <a:noFill/>
          <a:ln w="76200">
            <a:solidFill>
              <a:srgbClr val="FFFF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0C229C-2B06-2587-56A4-5343598C7417}"/>
              </a:ext>
            </a:extLst>
          </p:cNvPr>
          <p:cNvSpPr txBox="1"/>
          <p:nvPr/>
        </p:nvSpPr>
        <p:spPr>
          <a:xfrm>
            <a:off x="6699621" y="2688134"/>
            <a:ext cx="5368391" cy="3662541"/>
          </a:xfrm>
          <a:prstGeom prst="rect">
            <a:avLst/>
          </a:prstGeom>
          <a:solidFill>
            <a:schemeClr val="bg1"/>
          </a:solidFill>
          <a:ln w="76200">
            <a:solidFill>
              <a:schemeClr val="accent6"/>
            </a:solidFill>
          </a:ln>
        </p:spPr>
        <p:txBody>
          <a:bodyPr wrap="square" rtlCol="0">
            <a:noAutofit/>
          </a:bodyPr>
          <a:lstStyle/>
          <a:p>
            <a:pPr rtl="0"/>
            <a:r>
              <a:rPr sz="2400" b="1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Aksyon 2.1</a:t>
            </a:r>
            <a:r>
              <a:rPr sz="24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 mande pou nouvo bilding yo zewo nèt depi nan kòmansman, tankou:</a:t>
            </a:r>
            <a:br>
              <a:rPr sz="24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400"/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sz="20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Cambridge ta dwe defann kòd zewo nèt eta a, piske Massachusetts tabli kòd bilding yo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sz="20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Adopte kòd la osito eta a rann li posib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sz="20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Elimine mwayen pou itilize gaz fosil nan nouvo konstriksyon – se pi bon opòtinite pou elèktrifikasyon konplè bilding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sz="20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Siveye rezilta yo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1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53531974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664739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te idantifye politik ak pwogram pou atenn zewo nèt disi 2050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2002971"/>
            <a:ext cx="6323077" cy="4527560"/>
          </a:xfrm>
        </p:spPr>
        <p:txBody>
          <a:bodyPr>
            <a:noAutofit/>
          </a:bodyPr>
          <a:lstStyle/>
          <a:p>
            <a:pPr rtl="0">
              <a:spcBef>
                <a:spcPts val="600"/>
              </a:spcBef>
            </a:pP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an Plan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syo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ekabonizasyo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eta a:</a:t>
            </a:r>
          </a:p>
          <a:p>
            <a:pPr lvl="1" rtl="0">
              <a:spcBef>
                <a:spcPts val="600"/>
              </a:spcBef>
            </a:pP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striksyo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fri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aso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ki pi fasil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pi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tira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konomikma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òmans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ekaboniz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ektè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ilding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.." </a:t>
            </a:r>
          </a:p>
          <a:p>
            <a:pPr lvl="1" rtl="0">
              <a:spcBef>
                <a:spcPts val="600"/>
              </a:spcBef>
            </a:pP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èsk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tout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ilding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ka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swiv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yon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aso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antab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yon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sepsyo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ektrik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fikas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ki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gmant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fò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kipa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epi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ey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èt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li..."</a:t>
            </a:r>
          </a:p>
          <a:p>
            <a:pPr rtl="0">
              <a:spcBef>
                <a:spcPts val="600"/>
              </a:spcBef>
            </a:pP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rey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the Specialized Stretch Code</a:t>
            </a:r>
          </a:p>
          <a:p>
            <a:pPr lvl="1" rtl="0">
              <a:spcBef>
                <a:spcPts val="600"/>
              </a:spcBef>
            </a:pP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tabli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w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standa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èfòmans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men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oujou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èmèt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ilding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ati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az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osil</a:t>
            </a:r>
            <a:endParaRPr sz="2000" b="0" i="0" u="none" strike="noStrike" dirty="0">
              <a:solidFill>
                <a:srgbClr val="000000"/>
              </a:solidFill>
              <a:highlight>
                <a:srgbClr val="000000">
                  <a:alpha val="0"/>
                </a:srgbClr>
              </a:highlight>
              <a:latin typeface="Calibri"/>
            </a:endParaRPr>
          </a:p>
          <a:p>
            <a:pPr lvl="1" rtl="0">
              <a:spcBef>
                <a:spcPts val="600"/>
              </a:spcBef>
            </a:pP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dopt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pa Cambridge nan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wa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Janvy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2023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1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026" name="Picture 2" descr="MA 2050 Decarbonization Roadmap Cover Page">
            <a:extLst>
              <a:ext uri="{FF2B5EF4-FFF2-40B4-BE49-F238E27FC236}">
                <a16:creationId xmlns:a16="http://schemas.microsoft.com/office/drawing/2014/main" id="{5E38471F-BB1F-4440-80BD-5B45E606BA7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834359" y="1677724"/>
            <a:ext cx="3333750" cy="4305300"/>
          </a:xfrm>
          <a:prstGeom prst="rect">
            <a:avLst/>
          </a:prstGeom>
          <a:noFill/>
          <a:ln>
            <a:solidFill>
              <a:schemeClr val="accent6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38493111"/>
      </p:ext>
    </p:extLst>
  </p:cSld>
  <p:clrMapOvr>
    <a:masterClrMapping/>
  </p:clrMapOvr>
  <p:transition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8" y="789183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tenn objektif klima nou yo vle di elimine progresivman gaz fosil nan nouvo konstriksy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3"/>
            <a:ext cx="5372102" cy="4413503"/>
          </a:xfrm>
        </p:spPr>
        <p:txBody>
          <a:bodyPr>
            <a:noAutofit/>
          </a:bodyPr>
          <a:lstStyle/>
          <a:p>
            <a:pPr marL="0" lvl="1" indent="0" rtl="0">
              <a:spcBef>
                <a:spcPts val="600"/>
              </a:spcBef>
              <a:buNone/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a vle di ke nouvo bilding yo konstwi san sistèm gaz fosil tankou founo gaz oswa aparèy chofaj dlo ki sèvi ak gaz.</a:t>
            </a:r>
          </a:p>
          <a:p>
            <a:pPr marL="342900" lvl="1" indent="-342900" rtl="0">
              <a:spcBef>
                <a:spcPts val="6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plike pou gaz, lwil, ak lòt konbistib fosil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lvl="1" indent="0" rtl="0">
              <a:spcBef>
                <a:spcPts val="600"/>
              </a:spcBef>
              <a:buNone/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lizyè lòt vil ak eta ki gen angajman klimatik yo te vote egzijans 'pa gen nouvo gaz' yo pou nouvo bilding yo.</a:t>
            </a:r>
          </a:p>
          <a:p>
            <a:pPr marL="0" lvl="1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7" name="Picture 16" descr="New York fossil fuel ban article">
            <a:extLst>
              <a:ext uri="{FF2B5EF4-FFF2-40B4-BE49-F238E27FC236}">
                <a16:creationId xmlns:a16="http://schemas.microsoft.com/office/drawing/2014/main" id="{3C681B0C-2B64-6E7B-C0E0-5ADEFA510BD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84490" y="1426464"/>
            <a:ext cx="2940322" cy="4614672"/>
          </a:xfrm>
          <a:prstGeom prst="rect">
            <a:avLst/>
          </a:prstGeom>
          <a:ln>
            <a:solidFill>
              <a:schemeClr val="accent6"/>
            </a:solidFill>
          </a:ln>
        </p:spPr>
      </p:pic>
      <p:pic>
        <p:nvPicPr>
          <p:cNvPr id="21" name="Picture 20" descr="San Jose fossil fuel ban">
            <a:extLst>
              <a:ext uri="{FF2B5EF4-FFF2-40B4-BE49-F238E27FC236}">
                <a16:creationId xmlns:a16="http://schemas.microsoft.com/office/drawing/2014/main" id="{B280E497-EB8D-C881-CA0B-61D000E7EDF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31773" y="2580061"/>
            <a:ext cx="4010568" cy="4277939"/>
          </a:xfrm>
          <a:prstGeom prst="rect">
            <a:avLst/>
          </a:prstGeom>
          <a:ln>
            <a:solidFill>
              <a:schemeClr val="bg2"/>
            </a:solidFill>
          </a:ln>
        </p:spPr>
      </p:pic>
      <p:pic>
        <p:nvPicPr>
          <p:cNvPr id="18" name="Picture 17" descr="DC fossil fuel ban article">
            <a:extLst>
              <a:ext uri="{FF2B5EF4-FFF2-40B4-BE49-F238E27FC236}">
                <a16:creationId xmlns:a16="http://schemas.microsoft.com/office/drawing/2014/main" id="{75153018-04CD-37B5-8939-34730B5E95F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96348" y="1838265"/>
            <a:ext cx="3300226" cy="4548960"/>
          </a:xfrm>
          <a:prstGeom prst="rect">
            <a:avLst/>
          </a:prstGeom>
          <a:ln>
            <a:solidFill>
              <a:schemeClr val="accent6"/>
            </a:solidFill>
          </a:ln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1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6964873"/>
      </p:ext>
    </p:extLst>
  </p:cSld>
  <p:clrMapOvr>
    <a:masterClrMapping/>
  </p:clrMapOvr>
  <p:transition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75045" y="788424"/>
            <a:ext cx="11036983" cy="1049082"/>
          </a:xfrm>
        </p:spPr>
        <p:txBody>
          <a:bodyPr>
            <a:noAutofit/>
          </a:bodyPr>
          <a:lstStyle/>
          <a:p>
            <a:pPr rtl="0"/>
            <a:r>
              <a:rPr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lyedesa konstriktè yo gen obligasyon pou enstale sistèm ki totalman elektrik ak ekolojik 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1837506"/>
            <a:ext cx="5469638" cy="461206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an gaz fosil vle di ke nouvo bilding yo bezwen bati ak sistèm tankou ponp chalè epi aparèy chofaj dlo ki sèvi ak ponp chalè.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alite lè pwòp ak bon lè andedan kay la byen dokimante.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a a tou anpeche devlopè nouvo bilding yo enstale nouvo enfrastrikti gaz ke y ap dwe retire pi devan.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1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What is a Clean Energy Home webpage from MassCEC">
            <a:extLst>
              <a:ext uri="{FF2B5EF4-FFF2-40B4-BE49-F238E27FC236}">
                <a16:creationId xmlns:a16="http://schemas.microsoft.com/office/drawing/2014/main" id="{C61A5505-5E8C-9D22-F113-0E5BDDA7B5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08970" y="1852444"/>
            <a:ext cx="4487625" cy="354787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Picture 6" descr="Gas appliances pollute indoor and outdoor air">
            <a:extLst>
              <a:ext uri="{FF2B5EF4-FFF2-40B4-BE49-F238E27FC236}">
                <a16:creationId xmlns:a16="http://schemas.microsoft.com/office/drawing/2014/main" id="{F80A9202-A2C5-9E92-EBB6-2C4A9CFED7C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242481" y="3429000"/>
            <a:ext cx="3469547" cy="2807475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1745514758"/>
      </p:ext>
    </p:extLst>
  </p:cSld>
  <p:clrMapOvr>
    <a:masterClrMapping/>
  </p:clrMapOvr>
  <p:transition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ja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tèks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syon Cambridge pou abòde chanjman klimatik</a:t>
            </a:r>
            <a:b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 règleman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gram Demonstrasyon San Gaz Fosil Massachusetts la</a:t>
            </a:r>
            <a:b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gzijans ki pwopoze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e itilizasyon gaz fosil nan nouvo bilding ak gwo renovasyon yo</a:t>
            </a:r>
            <a:b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alandriye ak pwochen etap pou adopte règleman yo</a:t>
            </a:r>
            <a:b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esyon ak repon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1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7574285"/>
      </p:ext>
    </p:extLst>
  </p:cSld>
  <p:clrMapOvr>
    <a:masterClrMapping/>
  </p:clrMapOvr>
  <p:transition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2324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36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ssachusetts te kreye yon Pwogram Demonstrasyon San Gaz Fosi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155371"/>
            <a:ext cx="10744203" cy="3994497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ejislati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Massachusetts la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e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torize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10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minote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plike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1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gzijans</a:t>
            </a:r>
            <a:r>
              <a:rPr sz="28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1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an</a:t>
            </a:r>
            <a:r>
              <a:rPr sz="28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1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az</a:t>
            </a:r>
            <a:r>
              <a:rPr sz="2800" b="1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1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osil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striksyon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wo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novasyon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ati nan yon</a:t>
            </a:r>
            <a:r>
              <a:rPr sz="24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wa</a:t>
            </a:r>
            <a:r>
              <a:rPr sz="24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4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Favorize </a:t>
            </a:r>
            <a:r>
              <a:rPr sz="2400" b="0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nèji</a:t>
            </a:r>
            <a:r>
              <a:rPr sz="24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òp</a:t>
            </a:r>
            <a:r>
              <a:rPr sz="24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24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wolyèn</a:t>
            </a:r>
            <a:r>
              <a:rPr sz="24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nmè</a:t>
            </a:r>
            <a:r>
              <a:rPr sz="2400" b="0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2022)</a:t>
            </a:r>
          </a:p>
          <a:p>
            <a:pPr>
              <a:spcBef>
                <a:spcPts val="600"/>
              </a:spcBef>
            </a:pPr>
            <a:endParaRPr lang="en-US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epatman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sous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nèji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Massachusetts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e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evlope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ègleman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yon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òdonans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ijere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("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èg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odèl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).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bay DOER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pinyo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nan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evlopma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èglema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ezo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vè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a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a.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voy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èglema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final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bay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ejislati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an Me.</a:t>
            </a:r>
          </a:p>
          <a:p>
            <a:pPr marL="0" indent="0">
              <a:spcBef>
                <a:spcPts val="600"/>
              </a:spcBef>
              <a:buNone/>
            </a:pPr>
            <a:endParaRPr lang="en-US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1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3159585"/>
      </p:ext>
    </p:extLst>
  </p:cSld>
  <p:clrMapOvr>
    <a:masterClrMapping/>
  </p:clrMapOvr>
  <p:transition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88073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40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</a:t>
            </a:r>
            <a:r>
              <a:rPr sz="40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e</a:t>
            </a:r>
            <a:r>
              <a:rPr sz="40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40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torize</a:t>
            </a:r>
            <a:r>
              <a:rPr sz="40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40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40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40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atisipe</a:t>
            </a:r>
            <a:r>
              <a:rPr sz="40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nan </a:t>
            </a:r>
            <a:r>
              <a:rPr sz="40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gram</a:t>
            </a:r>
            <a:r>
              <a:rPr sz="40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40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emonstrasyon</a:t>
            </a:r>
            <a:r>
              <a:rPr sz="40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Massachusetts l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7067"/>
            <a:ext cx="5059063" cy="4112801"/>
          </a:xfrm>
        </p:spPr>
        <p:txBody>
          <a:bodyPr>
            <a:noAutofit/>
          </a:bodyPr>
          <a:lstStyle/>
          <a:p>
            <a:pPr marL="0" indent="0" rtl="0">
              <a:spcBef>
                <a:spcPts val="1800"/>
              </a:spcBef>
              <a:buNone/>
            </a:pP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oumèt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yon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etisyo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èg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omestik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nd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tori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a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a nan Avril 2022,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idonk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se yon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mino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iyori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</a:p>
          <a:p>
            <a:pPr marL="0" indent="0" rtl="0">
              <a:spcBef>
                <a:spcPts val="1800"/>
              </a:spcBef>
              <a:buNone/>
            </a:pP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n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vil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swa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i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vil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w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atisfè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10%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gzijans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ojma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bòdab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swa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MBTA Communities Multifamily Zoning</a:t>
            </a:r>
          </a:p>
          <a:p>
            <a:pPr rtl="0">
              <a:spcBef>
                <a:spcPts val="1800"/>
              </a:spcBef>
            </a:pP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i yon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mino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iyori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bandon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DOER ka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hwazi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yon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mino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anplasa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 Somerville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Boston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vote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vans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etisyo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èg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kay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sz="24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1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4" name="Picture 3" descr="List of 10 communities that are selected">
            <a:extLst>
              <a:ext uri="{FF2B5EF4-FFF2-40B4-BE49-F238E27FC236}">
                <a16:creationId xmlns:a16="http://schemas.microsoft.com/office/drawing/2014/main" id="{99A41550-23C3-5D52-D831-E73DEE9926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2037067"/>
            <a:ext cx="5698913" cy="3153767"/>
          </a:xfrm>
          <a:prstGeom prst="rect">
            <a:avLst/>
          </a:prstGeom>
        </p:spPr>
      </p:pic>
      <p:sp>
        <p:nvSpPr>
          <p:cNvPr id="7" name="Arrow: Left 6">
            <a:extLst>
              <a:ext uri="{FF2B5EF4-FFF2-40B4-BE49-F238E27FC236}">
                <a16:creationId xmlns:a16="http://schemas.microsoft.com/office/drawing/2014/main" id="{97C953B7-6F41-0F4A-2431-0C481CDC431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670536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Arrow: Left 10">
            <a:extLst>
              <a:ext uri="{FF2B5EF4-FFF2-40B4-BE49-F238E27FC236}">
                <a16:creationId xmlns:a16="http://schemas.microsoft.com/office/drawing/2014/main" id="{E3FBDFC8-7ED1-B7D1-0592-54303AA322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295474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2" name="Arrow: Left 11">
            <a:extLst>
              <a:ext uri="{FF2B5EF4-FFF2-40B4-BE49-F238E27FC236}">
                <a16:creationId xmlns:a16="http://schemas.microsoft.com/office/drawing/2014/main" id="{9DA9AB8A-E633-E98B-87E1-EB2E0ECE41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233005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Arrow: Left 12">
            <a:extLst>
              <a:ext uri="{FF2B5EF4-FFF2-40B4-BE49-F238E27FC236}">
                <a16:creationId xmlns:a16="http://schemas.microsoft.com/office/drawing/2014/main" id="{F5C348E1-88C4-DCA4-8D84-07546A3F3C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3511270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4" name="Arrow: Left 13">
            <a:extLst>
              <a:ext uri="{FF2B5EF4-FFF2-40B4-BE49-F238E27FC236}">
                <a16:creationId xmlns:a16="http://schemas.microsoft.com/office/drawing/2014/main" id="{9B5F73FF-84A3-76CA-A691-0B774DE4B15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038841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5" name="Arrow: Left 14">
            <a:extLst>
              <a:ext uri="{FF2B5EF4-FFF2-40B4-BE49-F238E27FC236}">
                <a16:creationId xmlns:a16="http://schemas.microsoft.com/office/drawing/2014/main" id="{6689F8E4-5C11-B8B5-AB53-B485093BFB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1419671" y="4879019"/>
            <a:ext cx="375242" cy="234298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Arrow: Left 15">
            <a:extLst>
              <a:ext uri="{FF2B5EF4-FFF2-40B4-BE49-F238E27FC236}">
                <a16:creationId xmlns:a16="http://schemas.microsoft.com/office/drawing/2014/main" id="{8B3741B8-9816-4D55-42CA-6EFF6F5242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905451" y="5380526"/>
            <a:ext cx="406608" cy="300837"/>
          </a:xfrm>
          <a:prstGeom prst="lef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31F2AF7-DFEE-A6A3-7AB5-0606F78CD218}"/>
              </a:ext>
            </a:extLst>
          </p:cNvPr>
          <p:cNvSpPr txBox="1"/>
          <p:nvPr/>
        </p:nvSpPr>
        <p:spPr>
          <a:xfrm>
            <a:off x="7441790" y="5298872"/>
            <a:ext cx="4626222" cy="120032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rtl="0"/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= Vil/Ti vil te vote pou adopte egzijans san gaz fosil yo</a:t>
            </a:r>
          </a:p>
          <a:p>
            <a:pPr rtl="0"/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(apati 10 Jiyè 2023)</a:t>
            </a:r>
          </a:p>
        </p:txBody>
      </p:sp>
    </p:spTree>
    <p:extLst>
      <p:ext uri="{BB962C8B-B14F-4D97-AF65-F5344CB8AC3E}">
        <p14:creationId xmlns:p14="http://schemas.microsoft.com/office/powerpoint/2010/main" val="2346477064"/>
      </p:ext>
    </p:extLst>
  </p:cSld>
  <p:clrMapOvr>
    <a:masterClrMapping/>
  </p:clrMapOvr>
  <p:transition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ja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tèks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syon Cambridge pou abòde chanjman klimatik</a:t>
            </a:r>
            <a:b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 règleman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gram Demonstrasyon San Gaz Fosil Massachusetts la</a:t>
            </a:r>
            <a:b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gzijans ki pwopoze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e itilizasyon gaz fosil nan nouvo bilding ak gwo renovasyon yo</a:t>
            </a:r>
            <a:b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alandriye ak pwochen etap pou adopte règleman yo</a:t>
            </a:r>
            <a:b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esyon ak repon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1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4237404"/>
      </p:ext>
    </p:extLst>
  </p:cSld>
  <p:clrMapOvr>
    <a:masterClrMapping/>
  </p:clrMapOvr>
  <p:transition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9" y="930181"/>
            <a:ext cx="10515600" cy="984478"/>
          </a:xfrm>
        </p:spPr>
        <p:txBody>
          <a:bodyPr>
            <a:noAutofit/>
          </a:bodyPr>
          <a:lstStyle/>
          <a:p>
            <a:pPr rtl="0"/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gram</a:t>
            </a:r>
            <a:r>
              <a:rPr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emonstrasyon</a:t>
            </a:r>
            <a:r>
              <a:rPr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an </a:t>
            </a:r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nde</a:t>
            </a:r>
            <a:r>
              <a:rPr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</a:t>
            </a:r>
            <a:r>
              <a:rPr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ilding</a:t>
            </a:r>
            <a:r>
              <a:rPr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wo</a:t>
            </a:r>
            <a:r>
              <a:rPr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novasyon</a:t>
            </a:r>
            <a:r>
              <a:rPr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pa gen </a:t>
            </a:r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az</a:t>
            </a:r>
            <a:r>
              <a:rPr sz="3200" b="1" i="0" u="none" strike="noStrike" dirty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3200" b="1" i="0" u="none" strike="noStrike" dirty="0" err="1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osil</a:t>
            </a:r>
            <a:endParaRPr sz="3200" b="1" i="0" u="none" strike="noStrike" dirty="0">
              <a:solidFill>
                <a:srgbClr val="1269A2"/>
              </a:solidFill>
              <a:highlight>
                <a:srgbClr val="000000">
                  <a:alpha val="0"/>
                </a:srgbClr>
              </a:highlight>
              <a:latin typeface="Calibri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9" y="2209800"/>
            <a:ext cx="6627878" cy="3940068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ilding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uvri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pa Fossil Fuel Free.</a:t>
            </a: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wo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novasyon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uvri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efini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nan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ègleman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eta a (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ouvan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50%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swa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lis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nan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ifas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taj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yon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ilding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).</a:t>
            </a:r>
          </a:p>
          <a:p>
            <a:pPr marL="0" indent="0" rtl="0">
              <a:spcBef>
                <a:spcPts val="600"/>
              </a:spcBef>
              <a:buNone/>
            </a:pPr>
            <a:r>
              <a:rPr sz="28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gzanpsyon</a:t>
            </a:r>
            <a:r>
              <a:rPr sz="2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apre</a:t>
            </a:r>
            <a:r>
              <a:rPr sz="2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ègleman</a:t>
            </a:r>
            <a:r>
              <a:rPr sz="2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eta a: </a:t>
            </a:r>
            <a:r>
              <a:rPr sz="28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opital</a:t>
            </a:r>
            <a:r>
              <a:rPr sz="2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8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iwo</a:t>
            </a:r>
            <a:r>
              <a:rPr sz="2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edikal</a:t>
            </a:r>
            <a:r>
              <a:rPr sz="2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8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2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boratwa</a:t>
            </a:r>
            <a:r>
              <a:rPr sz="28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endParaRPr sz="2800" b="1" i="1" u="none" strike="noStrike" dirty="0">
              <a:solidFill>
                <a:srgbClr val="000000"/>
              </a:solidFill>
              <a:highlight>
                <a:srgbClr val="000000">
                  <a:alpha val="0"/>
                </a:srgbClr>
              </a:highlight>
              <a:latin typeface="Calibri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6B35D68-DDEC-DA4B-6BA6-36BEC583C076}"/>
              </a:ext>
            </a:extLst>
          </p:cNvPr>
          <p:cNvSpPr txBox="1"/>
          <p:nvPr/>
        </p:nvSpPr>
        <p:spPr>
          <a:xfrm>
            <a:off x="7949184" y="1713821"/>
            <a:ext cx="3779520" cy="4278094"/>
          </a:xfrm>
          <a:prstGeom prst="rect">
            <a:avLst/>
          </a:prstGeom>
          <a:noFill/>
          <a:ln>
            <a:solidFill>
              <a:schemeClr val="bg2"/>
            </a:solidFill>
          </a:ln>
        </p:spPr>
        <p:txBody>
          <a:bodyPr wrap="square" rtlCol="0">
            <a:noAutofit/>
          </a:bodyPr>
          <a:lstStyle/>
          <a:p>
            <a:pPr rtl="0"/>
            <a:r>
              <a:rPr sz="1600" b="0" i="0" u="sng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Definisyon espesifik pou Gwo Renovasyon gen ladan </a:t>
            </a:r>
            <a:r>
              <a:rPr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: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Pou 1-2 kay fanmi, kay nan vil: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renovasyon 50% nan bilding lan, si plis pase 1,000 square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ajoute 1,000 square, oswa double bilding ki la deja a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chanjman nan itilizasyon 1,000 square</a:t>
            </a:r>
          </a:p>
          <a:p>
            <a:pPr marL="285750" indent="-285750" rtl="0">
              <a:buFont typeface="Arial" panose="020B0604020202020204" pitchFamily="34" charset="0"/>
              <a:buChar char="•"/>
            </a:pPr>
            <a:r>
              <a:rPr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Pou tout lòt kalite bilding yo: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renovasyon 50% nan espas etaj bilding lan, si plis pase 20,000 square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ajoute 20,000 square oswa double bilding ki egziste deja a</a:t>
            </a:r>
          </a:p>
          <a:p>
            <a:pPr marL="742950" lvl="1" indent="-285750" rtl="0">
              <a:buFont typeface="Arial" panose="020B0604020202020204" pitchFamily="34" charset="0"/>
              <a:buChar char="•"/>
            </a:pPr>
            <a:r>
              <a:rPr sz="16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chanjman nan itilizasyon 20,000 square oswa tout bilding la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en-US" sz="1600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1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44974" y="518753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9736002"/>
      </p:ext>
    </p:extLst>
  </p:cSld>
  <p:clrMapOvr>
    <a:masterClrMapping/>
  </p:clrMapOvr>
  <p:transition/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gram Demonstrasyon San Gaz Fosil la gen yon òdonans sijere oswa "modèl".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05433"/>
            <a:ext cx="10744203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0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i </a:t>
            </a:r>
            <a:r>
              <a:rPr sz="2000" b="0" i="0" u="sng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a</a:t>
            </a:r>
            <a:r>
              <a:rPr sz="20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sng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òdonans</a:t>
            </a:r>
            <a:r>
              <a:rPr sz="20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sng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odèl</a:t>
            </a:r>
            <a:r>
              <a:rPr sz="20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la </a:t>
            </a:r>
            <a:r>
              <a:rPr sz="2000" b="0" i="0" u="sng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uvri</a:t>
            </a:r>
            <a:br>
              <a:rPr sz="2000" b="0" i="0" u="sng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 sz="2000" u="sng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rtl="0">
              <a:spcBef>
                <a:spcPts val="600"/>
              </a:spcBef>
            </a:pP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n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ilding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pa ka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tiliz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habo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azòy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az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atirèl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swa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òt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az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osil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nan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onksyònma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li</a:t>
            </a:r>
          </a:p>
          <a:p>
            <a:pPr rtl="0">
              <a:spcBef>
                <a:spcPts val="600"/>
              </a:spcBef>
            </a:pP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njeneral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pran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a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a gen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da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hofaj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istèm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l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h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kleraj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wit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nj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ech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rad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haj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sesis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tansyèlma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mèsyal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(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gzanp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stora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dray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lining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)</a:t>
            </a:r>
          </a:p>
          <a:p>
            <a:pPr lvl="1" rtl="0">
              <a:spcBef>
                <a:spcPts val="600"/>
              </a:spcBef>
            </a:pP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n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vil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swa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i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vil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ka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poze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gzanpsyon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imite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swa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hanjman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nan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odèl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òdonans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vèk</a:t>
            </a:r>
            <a:r>
              <a:rPr sz="2000" b="1" i="1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1" i="1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jistifikasyon</a:t>
            </a:r>
            <a:endParaRPr sz="2000" b="1" i="1" u="none" strike="noStrike" dirty="0">
              <a:solidFill>
                <a:srgbClr val="000000"/>
              </a:solidFill>
              <a:highlight>
                <a:srgbClr val="000000">
                  <a:alpha val="0"/>
                </a:srgbClr>
              </a:highlight>
              <a:latin typeface="Calibri"/>
            </a:endParaRPr>
          </a:p>
          <a:p>
            <a:pPr rtl="0">
              <a:spcBef>
                <a:spcPts val="1200"/>
              </a:spcBef>
            </a:pP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Òdonans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odèl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la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az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sou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òd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striksyo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"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pesyaliz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" (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Cambridge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dopt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) epi li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ondamantalma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psyo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ki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èmèt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tilizasyo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az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osil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de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larifikasyo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:</a:t>
            </a:r>
          </a:p>
          <a:p>
            <a:pPr lvl="1" rtl="0">
              <a:spcBef>
                <a:spcPts val="1200"/>
              </a:spcBef>
            </a:pP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i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èmèt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tiliz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az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swa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pà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hofaj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l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lizyè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anmi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jiska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2027</a:t>
            </a:r>
          </a:p>
          <a:p>
            <a:pPr lvl="1" rtl="0">
              <a:spcBef>
                <a:spcPts val="1200"/>
              </a:spcBef>
            </a:pP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i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esiz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w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novasyo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pa ka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nstal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sng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kipman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az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osil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hofaj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l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ho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wit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nj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, </a:t>
            </a:r>
            <a:r>
              <a:rPr sz="20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atriye</a:t>
            </a:r>
            <a:r>
              <a:rPr sz="20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</a:p>
          <a:p>
            <a:pPr marL="0" indent="0">
              <a:spcBef>
                <a:spcPts val="600"/>
              </a:spcBef>
              <a:buNone/>
            </a:pPr>
            <a:endParaRPr lang="en-US" sz="2000" u="sng" dirty="0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1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3898" y="464379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4168918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: Rounded Corners 30">
            <a:extLst>
              <a:ext uri="{FF2B5EF4-FFF2-40B4-BE49-F238E27FC236}">
                <a16:creationId xmlns:a16="http://schemas.microsoft.com/office/drawing/2014/main" id="{303B9770-7DE8-9A95-C80B-6C4BC1773E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4966766"/>
            <a:ext cx="3461312" cy="1318107"/>
          </a:xfrm>
          <a:prstGeom prst="round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FD81FA8-56D7-AB80-E26E-A8E60A9C1A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286889" y="2831735"/>
            <a:ext cx="1008257" cy="1017118"/>
          </a:xfrm>
          <a:prstGeom prst="rect">
            <a:avLst/>
          </a:prstGeom>
        </p:spPr>
      </p:pic>
      <p:sp>
        <p:nvSpPr>
          <p:cNvPr id="4" name="Title 1">
            <a:extLst>
              <a:ext uri="{FF2B5EF4-FFF2-40B4-BE49-F238E27FC236}">
                <a16:creationId xmlns:a16="http://schemas.microsoft.com/office/drawing/2014/main" id="{9DA8C127-7518-02FF-2670-E6AF73DACDE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Byenvini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F33ADE03-8CEF-F08A-63EC-1BFD1EDFC87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flipH="1">
            <a:off x="10386212" y="270434"/>
            <a:ext cx="364577" cy="364577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10684B81-7745-328E-9402-37C56F91990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11350320" y="293373"/>
            <a:ext cx="337749" cy="337749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BB9A0BA3-9E22-9B8D-B7B3-5543CAD77BB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 flipH="1">
            <a:off x="9493778" y="293385"/>
            <a:ext cx="337725" cy="337725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FE7CA01B-19B7-674B-EC88-1E16C867FC0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827714" y="326571"/>
            <a:ext cx="259356" cy="259356"/>
          </a:xfrm>
          <a:prstGeom prst="rect">
            <a:avLst/>
          </a:prstGeom>
        </p:spPr>
      </p:pic>
      <p:pic>
        <p:nvPicPr>
          <p:cNvPr id="23" name="Graphic 22">
            <a:extLst>
              <a:ext uri="{FF2B5EF4-FFF2-40B4-BE49-F238E27FC236}">
                <a16:creationId xmlns:a16="http://schemas.microsoft.com/office/drawing/2014/main" id="{1F70C614-6CF8-9973-9B43-7D2DDD66FCA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10004490" y="317045"/>
            <a:ext cx="259357" cy="259357"/>
          </a:xfrm>
          <a:prstGeom prst="rect">
            <a:avLst/>
          </a:prstGeom>
        </p:spPr>
      </p:pic>
      <p:pic>
        <p:nvPicPr>
          <p:cNvPr id="24" name="Graphic 23">
            <a:extLst>
              <a:ext uri="{FF2B5EF4-FFF2-40B4-BE49-F238E27FC236}">
                <a16:creationId xmlns:a16="http://schemas.microsoft.com/office/drawing/2014/main" id="{CF70A1A3-2244-07EA-D65C-91063BE7DEE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10891464" y="326570"/>
            <a:ext cx="259356" cy="259356"/>
          </a:xfrm>
          <a:prstGeom prst="rect">
            <a:avLst/>
          </a:prstGeom>
        </p:spPr>
      </p:pic>
      <p:sp>
        <p:nvSpPr>
          <p:cNvPr id="2" name="Content Placeholder 2">
            <a:extLst>
              <a:ext uri="{FF2B5EF4-FFF2-40B4-BE49-F238E27FC236}">
                <a16:creationId xmlns:a16="http://schemas.microsoft.com/office/drawing/2014/main" id="{5B1EE775-0DD9-9523-89D7-58F9EA9BC23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1713821"/>
            <a:ext cx="10515836" cy="305325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usanne Rasmussen, Direktè Planifikasyon Anviwònman ak Transpò</a:t>
            </a:r>
            <a:b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ikhil Nadkarni, Planifikatè Pwojè Enèji</a:t>
            </a:r>
            <a:b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Jennifer Ballew, Planifikatè Pwojè Dirab</a:t>
            </a:r>
            <a:b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rad Pillen, Planifikatè Asosye nan Angajman Enèji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79D560B9-9B58-7233-67C2-65CD20C9146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07CE0FFF-B88F-4BF6-A69A-2F7EF781B2CD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 txBox="1"/>
          <p:nvPr/>
        </p:nvSpPr>
        <p:spPr>
          <a:xfrm>
            <a:off x="1081341" y="5070384"/>
            <a:ext cx="2749005" cy="1077218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3200" b="0" i="1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</a:rPr>
              <a:t>Reyinyon sa a ap anrejistre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5057488-8D75-303E-AA09-4CB3EA3C2D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EA035ED-780D-D8A1-57EC-6AD5BA6B181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3271544"/>
      </p:ext>
    </p:extLst>
  </p:cSld>
  <p:clrMapOvr>
    <a:masterClrMapping/>
  </p:clrMapOvr>
  <p:transition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E51C2173-2F81-6980-F1ED-A887E798F795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32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Eta a pral fè yon evalyasyon rezilta y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Vil ak ti vil yo dwe bay DOER dosye pèmi konstriksyon yo, ki gen ladan nenpòt rapò sou nòt enèji. </a:t>
            </a:r>
          </a:p>
          <a:p>
            <a:pPr marL="0" indent="0">
              <a:spcBef>
                <a:spcPts val="12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12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OER pral jwenn aksè nan itilizasyon enèji nan sèvis piblik yo epi fè rapò sou rediksyon emisyon yo.</a:t>
            </a:r>
          </a:p>
          <a:p>
            <a:pPr>
              <a:spcBef>
                <a:spcPts val="600"/>
              </a:spcBef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20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13981643"/>
      </p:ext>
    </p:extLst>
  </p:cSld>
  <p:clrMapOvr>
    <a:masterClrMapping/>
  </p:clrMapOvr>
  <p:transition/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ja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tèks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syon Cambridge pou abòde chanjman klimatik</a:t>
            </a:r>
            <a:b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 règleman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gram Demonstrasyon San Gaz Fosil Massachusetts la</a:t>
            </a:r>
            <a:b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gzijans ki pwopoze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e itilizasyon gaz fosil nan nouvo bilding ak gwo renovasyon yo</a:t>
            </a:r>
            <a:b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alandriye ak pwochen etap pou adopte règleman yo</a:t>
            </a:r>
            <a:b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esyon ak repon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21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3584219"/>
      </p:ext>
    </p:extLst>
  </p:cSld>
  <p:clrMapOvr>
    <a:masterClrMapping/>
  </p:clrMapOvr>
  <p:transition/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alandiye pou Kominote Priyorite y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dwe soumèt aplikasyon final li a (ki gen ladan òdonans pwopoze a ak dat aplikasyon) bay DOER disi </a:t>
            </a:r>
            <a:r>
              <a:rPr sz="28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1ye Septanm 2023</a:t>
            </a: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.</a:t>
            </a:r>
          </a:p>
          <a:p>
            <a:pPr lvl="1"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i l pa fè sa, sa pral lakoz eliminasyon nan pwogram nan</a:t>
            </a:r>
          </a:p>
          <a:p>
            <a:pPr lvl="1"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inisipalite yo ka soumèt aplikasyon yo a pi bonè bay DOER pou jwenn fidbak</a:t>
            </a:r>
          </a:p>
          <a:p>
            <a:pPr marL="0" indent="0">
              <a:spcBef>
                <a:spcPts val="600"/>
              </a:spcBef>
              <a:buNone/>
            </a:pPr>
            <a:endParaRPr lang="en-US" u="sng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22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55849851"/>
      </p:ext>
    </p:extLst>
  </p:cSld>
  <p:clrMapOvr>
    <a:masterClrMapping/>
  </p:clrMapOvr>
  <p:transition/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36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 ap pataje enfòmasyon sou pwogram nan ak rezidan Cambridge yo epi pwopriyetè bilding yo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897709"/>
            <a:ext cx="10744203" cy="4252159"/>
          </a:xfrm>
        </p:spPr>
        <p:txBody>
          <a:bodyPr>
            <a:noAutofit/>
          </a:bodyPr>
          <a:lstStyle/>
          <a:p>
            <a:pPr marL="228600" lvl="1"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nfòmasyon yo prezante nan prezantasyon sa a ak yon prezantasyon nan dat 24 Jiyè</a:t>
            </a: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228600" lvl="1"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ngaje ak pwofesyonèl konstriksyon yo nan prezantasyon Kòd Espesyalize semèn sa a</a:t>
            </a:r>
          </a:p>
          <a:p>
            <a:pPr marL="685800" lvl="2" rtl="0">
              <a:spcBef>
                <a:spcPts val="1200"/>
              </a:spcBef>
            </a:pPr>
            <a:r>
              <a:rPr sz="20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adi 11 Jiyè a 4pm: Kòd Komèsyal Espesyalize</a:t>
            </a:r>
          </a:p>
          <a:p>
            <a:pPr marL="685800" lvl="2" rtl="0">
              <a:spcBef>
                <a:spcPts val="1200"/>
              </a:spcBef>
            </a:pPr>
            <a:r>
              <a:rPr sz="20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èkredi 12 Jiyè a 4pm: Kòd Espesyalize Rezidansyèl</a:t>
            </a:r>
          </a:p>
          <a:p>
            <a:pPr marL="228600" lvl="1"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ay depliyan nan espas kominotè yo atravè Cambridge</a:t>
            </a:r>
          </a:p>
          <a:p>
            <a:pPr marL="228600" lvl="1"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èl atik ak enfòmasyon sou entènèt</a:t>
            </a:r>
          </a:p>
          <a:p>
            <a:pPr marL="228600" lvl="1"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Sensibilisation asosyasyon rezidan yo ak asosyasyon biznis yo</a:t>
            </a:r>
          </a:p>
          <a:p>
            <a:pPr marL="228600" lvl="1"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nfòmasyon pou pwopriyetè gwo bilding ak pwofesyonèl konstriksyon k ap travay nan Cambridge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2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3359655"/>
      </p:ext>
    </p:extLst>
  </p:cSld>
  <p:clrMapOvr>
    <a:masterClrMapping/>
  </p:clrMapOvr>
  <p:transition/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3898" y="811057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36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 vle fidbak ou sou fason nouvo bilding yo ak gwo renovasyon yo nan Cambridge kapab san gaz fosil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2036064"/>
            <a:ext cx="10744203" cy="411380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nplis de resevwa fidbak nan prezantasyon yo, yo te lanse yon sondaj sou entènèt pou rasanble opinyon rezidan Cambridge yo ak pwopriyetè bilding yo, ki kouvri:</a:t>
            </a:r>
          </a:p>
          <a:p>
            <a:pPr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ip espesifik bilding yo ke nou ta dwe konsantre rechèch nou sou yo</a:t>
            </a:r>
          </a:p>
          <a:p>
            <a:pPr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Itilizasyon espesifik oswa sistèm konstriksyon ke nou ta dwe fè plis rechèch sou yo</a:t>
            </a:r>
          </a:p>
          <a:p>
            <a:pPr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i jan gwo renovasyon yo ka san gaz fosil</a:t>
            </a:r>
          </a:p>
          <a:p>
            <a:pPr rtl="0">
              <a:spcBef>
                <a:spcPts val="12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òt sijè ke nou ta dwe fè rechèch sou yo</a:t>
            </a:r>
          </a:p>
          <a:p>
            <a:pPr marL="0" indent="0" rtl="0">
              <a:spcBef>
                <a:spcPts val="1200"/>
              </a:spcBef>
              <a:buNone/>
            </a:pPr>
            <a:r>
              <a:rPr sz="2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pons sondaj yo dwe bay oplita 17 Jiyè pou yo enkòpore nan travay rechèch la.</a:t>
            </a:r>
          </a:p>
          <a:p>
            <a:pPr marL="0" indent="0" rtl="0">
              <a:spcBef>
                <a:spcPts val="1200"/>
              </a:spcBef>
              <a:buNone/>
            </a:pPr>
            <a:r>
              <a:rPr sz="2400" b="0" i="0" u="none" strike="noStrike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//bit.ly/FFFupdates</a:t>
            </a:r>
            <a:endParaRPr lang="en-US" sz="2400" b="1">
              <a:solidFill>
                <a:schemeClr val="tx2"/>
              </a:solidFill>
              <a:latin typeface="Calibri" panose="020F0502020204030204" pitchFamily="34" charset="0"/>
            </a:endParaRP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24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2900042"/>
      </p:ext>
    </p:extLst>
  </p:cSld>
  <p:clrMapOvr>
    <a:masterClrMapping/>
  </p:clrMapOvr>
  <p:transition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chen Etap pou Cambridg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1200"/>
              </a:spcBef>
              <a:buNone/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 ap travay ak yon konsiltan rechèch pou chèche konnen si nenpòt chanjman nan règ modèl la apwopriye, lè nou fè bagay sa yo:</a:t>
            </a:r>
          </a:p>
          <a:p>
            <a:pPr lvl="1" rtl="0">
              <a:spcBef>
                <a:spcPts val="1200"/>
              </a:spcBef>
            </a:pPr>
            <a:r>
              <a:rPr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gzamine ki kalite bilding yo bati oswa renove nan Cambridge</a:t>
            </a:r>
          </a:p>
          <a:p>
            <a:pPr lvl="1" rtl="0">
              <a:spcBef>
                <a:spcPts val="1200"/>
              </a:spcBef>
            </a:pPr>
            <a:r>
              <a:rPr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prann nenpòt limit teknik nan ekipman tout elektrik pou kalite bilding espesifik yo oswa itilizasyon final yo</a:t>
            </a:r>
          </a:p>
          <a:p>
            <a:pPr lvl="1" rtl="0">
              <a:spcBef>
                <a:spcPts val="1200"/>
              </a:spcBef>
            </a:pPr>
            <a:r>
              <a:rPr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vize fason egzijans yo ap afekte chaj pwosesis yo nan Cambridge</a:t>
            </a:r>
          </a:p>
          <a:p>
            <a:pPr lvl="1" rtl="0">
              <a:spcBef>
                <a:spcPts val="1200"/>
              </a:spcBef>
            </a:pPr>
            <a:r>
              <a:rPr sz="22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vize opinyon yo resevwa nan sondaj la pou mete yo nan rechèch la</a:t>
            </a:r>
          </a:p>
          <a:p>
            <a:pPr marL="0" indent="0">
              <a:spcBef>
                <a:spcPts val="1200"/>
              </a:spcBef>
              <a:buNone/>
            </a:pPr>
            <a:endParaRPr lang="en-US" sz="240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1200"/>
              </a:spcBef>
              <a:buNone/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sèy Minisipal la pral diskite sou langaj òdonans yo pwopoze nan </a:t>
            </a:r>
            <a:r>
              <a:rPr sz="2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yinyon Komite Òdonans 1ye Out</a:t>
            </a: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la ak</a:t>
            </a:r>
            <a:r>
              <a:rPr sz="2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vote nan </a:t>
            </a:r>
            <a:r>
              <a:rPr sz="24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ng final nan dat 7 Out</a:t>
            </a: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.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2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2625034"/>
      </p:ext>
    </p:extLst>
  </p:cSld>
  <p:clrMapOvr>
    <a:masterClrMapping/>
  </p:clrMapOvr>
  <p:transition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esyon ak Repons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3" name="Content Placeholder 3" descr="Write your questions in the Zoom Q&amp;A panel">
            <a:extLst>
              <a:ext uri="{FF2B5EF4-FFF2-40B4-BE49-F238E27FC236}">
                <a16:creationId xmlns:a16="http://schemas.microsoft.com/office/drawing/2014/main" id="{B21E3827-1DB0-0D3E-8DCC-20E920E4B217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4517241"/>
              </p:ext>
            </p:extLst>
          </p:nvPr>
        </p:nvGraphicFramePr>
        <p:xfrm>
          <a:off x="838200" y="1690689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8F6A06A7-FFFD-A2F5-F721-592EDB8AAA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8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anèl Anba Ekran Zoom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4E7080A-BF57-D511-AB85-451D6AB36BD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7" name="Flowchart: Off-page Connector 6">
            <a:extLst>
              <a:ext uri="{FF2B5EF4-FFF2-40B4-BE49-F238E27FC236}">
                <a16:creationId xmlns:a16="http://schemas.microsoft.com/office/drawing/2014/main" id="{ACB251AD-130B-1E9A-527E-F944D052EF3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141A10D-5B03-7E89-B4DE-3B8BE28B7D1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oze yon Kesyon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2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5234593"/>
      </p:ext>
    </p:extLst>
  </p:cSld>
  <p:clrMapOvr>
    <a:masterClrMapping/>
  </p:clrMapOvr>
  <p:transition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8F196868-1C52-8D91-AF0E-C71A04E48012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664739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Pou Plis Enfòmasyon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088BC24-1734-6419-1D44-083DDAA036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rtl="0"/>
            <a:r>
              <a:rPr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Vizite paj wèb nou </a:t>
            </a:r>
            <a:r>
              <a:rPr sz="2800" b="1" i="0" u="none" strike="noStrike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an</a:t>
            </a:r>
            <a:r>
              <a:rPr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 nan </a:t>
            </a:r>
            <a:r>
              <a:rPr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  <a:hlinkClick r:id="rId2"/>
              </a:rPr>
              <a:t>https://bit.ly/FFFupdates</a:t>
            </a:r>
            <a:endParaRPr lang="en-US" b="1"/>
          </a:p>
          <a:p>
            <a:pPr rtl="0"/>
            <a:r>
              <a:rPr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Ranpli sondaj la oplita 17 Jiyè</a:t>
            </a:r>
            <a:endParaRPr lang="en-US"/>
          </a:p>
          <a:p>
            <a:pPr rtl="0"/>
            <a:r>
              <a:rPr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Prezantasyon 24 Jiyè</a:t>
            </a:r>
          </a:p>
          <a:p>
            <a:pPr rtl="0"/>
            <a:r>
              <a:rPr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Kontakte Brad nan bpillen@cambridgema.gov</a:t>
            </a:r>
          </a:p>
          <a:p>
            <a:endParaRPr lang="en-US"/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351053B-92D9-7338-1543-BD80B26AF33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" name="Footer Placeholder 2">
            <a:extLst>
              <a:ext uri="{FF2B5EF4-FFF2-40B4-BE49-F238E27FC236}">
                <a16:creationId xmlns:a16="http://schemas.microsoft.com/office/drawing/2014/main" id="{75D8E2BC-B067-A912-1925-E4F54C1A35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E5C00FE7-1626-A64E-216E-7FC46708F8F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2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92210531"/>
      </p:ext>
    </p:extLst>
  </p:cSld>
  <p:clrMapOvr>
    <a:masterClrMapping/>
  </p:clrMapOvr>
  <p:transition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55C3F6FE-508A-07E3-DEBA-1E6F593297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èsi!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99FCCC70-6E17-33E9-D66D-B6B3B0A563C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2">
            <a:extLst>
              <a:ext uri="{FF2B5EF4-FFF2-40B4-BE49-F238E27FC236}">
                <a16:creationId xmlns:a16="http://schemas.microsoft.com/office/drawing/2014/main" id="{B8DEC12F-2E52-AC16-EF21-4BB45422D8B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BBD967D3-9B49-861D-D44F-CBEE271A4D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2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586183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803681-83BA-14F1-D3BA-1D9F3C619B06}"/>
              </a:ext>
            </a:extLst>
          </p:cNvPr>
          <p:cNvSpPr txBox="1">
            <a:spLocks noGrp="1"/>
          </p:cNvSpPr>
          <p:nvPr>
            <p:ph type="title" idx="4294967295"/>
          </p:nvPr>
        </p:nvSpPr>
        <p:spPr>
          <a:xfrm>
            <a:off x="652509" y="997150"/>
            <a:ext cx="10515600" cy="1049082"/>
          </a:xfrm>
          <a:prstGeom prst="rect">
            <a:avLst/>
          </a:prstGeom>
          <a:noFill/>
          <a:ln>
            <a:noFill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44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j-ea"/>
                <a:cs typeface="+mj-cs"/>
              </a:rPr>
              <a:t>Enstriksyon pou poze yon kesyon oswa fè yon kòmantè</a:t>
            </a:r>
          </a:p>
        </p:txBody>
      </p:sp>
      <p:graphicFrame>
        <p:nvGraphicFramePr>
          <p:cNvPr id="23" name="Content Placeholder 3" descr="You will  join the meeting with video and mic off. You can type written questions in the Zoom Q&amp;A panel">
            <a:extLst>
              <a:ext uri="{FF2B5EF4-FFF2-40B4-BE49-F238E27FC236}">
                <a16:creationId xmlns:a16="http://schemas.microsoft.com/office/drawing/2014/main" id="{6A970923-3EE9-5110-7D67-6F29AF537C54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622436672"/>
              </p:ext>
            </p:extLst>
          </p:nvPr>
        </p:nvGraphicFramePr>
        <p:xfrm>
          <a:off x="838200" y="2308562"/>
          <a:ext cx="10866120" cy="306161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3" name="TextBox 12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3149102" y="5313390"/>
            <a:ext cx="1904724" cy="92333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800" b="1" i="0" u="none" strike="noStrike" kern="1200" cap="none" spc="0" normalizeH="0" baseline="0" noProof="0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anèl Anba Ekran Zoom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9121920D-1DB4-45C1-AB2E-E79AF596F6E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1700" y="6574717"/>
            <a:ext cx="41148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11" name="Slide Number Placeholder 3">
            <a:extLst>
              <a:ext uri="{FF2B5EF4-FFF2-40B4-BE49-F238E27FC236}">
                <a16:creationId xmlns:a16="http://schemas.microsoft.com/office/drawing/2014/main" id="{CF6A662C-B159-4D4A-B55E-03EE61F7E70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324812" y="6574717"/>
            <a:ext cx="2743200" cy="262815"/>
          </a:xfrm>
          <a:prstGeom prst="rect">
            <a:avLst/>
          </a:prstGeom>
        </p:spPr>
        <p:txBody>
          <a:bodyPr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AEABAB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Jiyè 2023	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AEABAB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7E6D13E-3F18-D30A-8248-80383CD5204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l="28726" r="48292"/>
          <a:stretch>
            <a:fillRect/>
          </a:stretch>
        </p:blipFill>
        <p:spPr>
          <a:xfrm>
            <a:off x="5160703" y="5167312"/>
            <a:ext cx="1637304" cy="1134448"/>
          </a:xfrm>
          <a:prstGeom prst="rect">
            <a:avLst/>
          </a:prstGeom>
        </p:spPr>
      </p:pic>
      <p:sp>
        <p:nvSpPr>
          <p:cNvPr id="9" name="Flowchart: Off-page Connector 8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7283641" y="4928123"/>
            <a:ext cx="763307" cy="1637302"/>
          </a:xfrm>
          <a:prstGeom prst="flowChartOffpageConnector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7072274" y="5401676"/>
            <a:ext cx="1518549" cy="64633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800" b="1" i="0" u="none" strike="noStrike" kern="1200" cap="none" spc="0" normalizeH="0" baseline="0" noProof="0">
                <a:solidFill>
                  <a:srgbClr val="FFFFF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Arial"/>
                <a:ea typeface="+mn-ea"/>
                <a:cs typeface="+mn-cs"/>
              </a:rPr>
              <a:t>Poze yon Kesyo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E3A07C0A-9186-3109-07B2-97E65FF1005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33C9064-36E8-9E93-C896-7069C24EFB28}"/>
              </a:ext>
            </a:extLst>
          </p:cNvPr>
          <p:cNvSpPr txBox="1"/>
          <p:nvPr/>
        </p:nvSpPr>
        <p:spPr>
          <a:xfrm>
            <a:off x="652509" y="2228141"/>
            <a:ext cx="10588515" cy="288356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00ADB5"/>
              </a:buClr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 ap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reponn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esyon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pre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8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ezantasyon</a:t>
            </a:r>
            <a:r>
              <a:rPr sz="28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an.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9C52EBCC-05CF-19D1-CA36-2D2D0F98314B}"/>
              </a:ext>
            </a:extLst>
          </p:cNvPr>
          <p:cNvSpPr txBox="1"/>
          <p:nvPr/>
        </p:nvSpPr>
        <p:spPr>
          <a:xfrm>
            <a:off x="8865090" y="5317165"/>
            <a:ext cx="2887866" cy="92333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rtl="0"/>
            <a:r>
              <a:rPr sz="1800" b="1" i="1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 pwoblèm teknik, tanpri voye yon imel bay: jballew@cambridgema.gov</a:t>
            </a:r>
            <a:endParaRPr lang="en-US" i="1"/>
          </a:p>
        </p:txBody>
      </p:sp>
    </p:spTree>
    <p:extLst>
      <p:ext uri="{BB962C8B-B14F-4D97-AF65-F5344CB8AC3E}">
        <p14:creationId xmlns:p14="http://schemas.microsoft.com/office/powerpoint/2010/main" val="3474700355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ja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tèks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syon Cambridge pou abòde chanjman klimatik</a:t>
            </a:r>
            <a:b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 règleman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gram Demonstrasyon San Gaz Fosil Massachusetts la</a:t>
            </a:r>
            <a:b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gzijans ki pwopoze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e itilizasyon gaz fosil nan nouvo bilding ak gwo renovasyon yo</a:t>
            </a:r>
            <a:b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alandriye ak pwochen etap pou adopte règleman yo</a:t>
            </a:r>
            <a:b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esyon ak repon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3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80403188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jand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6AC962A-FABE-4F14-91E7-A91AD417ADF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3898" y="1677725"/>
            <a:ext cx="10744203" cy="4472144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ntèks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syon Cambridge pou abòde chanjman klimatik</a:t>
            </a:r>
            <a:br>
              <a:rPr sz="24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vo règleman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wogram Demonstrasyon San Gaz Fosil Massachusetts la</a:t>
            </a:r>
            <a:b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gzijans ki pwopoze:</a:t>
            </a:r>
          </a:p>
          <a:p>
            <a:pPr lvl="1" rtl="0">
              <a:spcBef>
                <a:spcPts val="600"/>
              </a:spcBef>
            </a:pPr>
            <a: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imine itilizasyon gaz fosil nan nouvo bilding ak gwo renovasyon yo</a:t>
            </a:r>
            <a:br>
              <a:rPr sz="24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alandriye ak pwochen etap pou adopte règleman yo</a:t>
            </a:r>
            <a:b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</a:br>
            <a:endParaRPr lang="en-US">
              <a:solidFill>
                <a:schemeClr val="bg1">
                  <a:lumMod val="75000"/>
                </a:schemeClr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BFBFBF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esyon ak repons</a:t>
            </a:r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5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92723466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97685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44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te angaje l depi lontan pou poze aksyon kont chanjman klimatik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5188" y="2229307"/>
            <a:ext cx="4692637" cy="3920561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ap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z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ksyo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lafwa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:</a:t>
            </a:r>
          </a:p>
          <a:p>
            <a:pPr rtl="0">
              <a:spcBef>
                <a:spcPts val="600"/>
              </a:spcBef>
            </a:pP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mete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misyo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az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ki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akoz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fè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èmik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nou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a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zewo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disi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2050</a:t>
            </a:r>
          </a:p>
          <a:p>
            <a:pPr rtl="0">
              <a:spcBef>
                <a:spcPts val="600"/>
              </a:spcBef>
            </a:pP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repare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npak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lima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 </a:t>
            </a:r>
          </a:p>
          <a:p>
            <a:pPr>
              <a:spcBef>
                <a:spcPts val="600"/>
              </a:spcBef>
            </a:pPr>
            <a:endParaRPr lang="en-US" sz="2400" dirty="0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fè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ati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yon pi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gwo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kowalisyo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vil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nan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zò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Boston ki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t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ngaje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yo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ou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atenn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</a:t>
            </a:r>
            <a:r>
              <a:rPr sz="2400" b="0" i="0" u="none" strike="noStrike" dirty="0" err="1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objektif</a:t>
            </a:r>
            <a:r>
              <a:rPr sz="2400" b="0" i="0" u="none" strike="noStrike" dirty="0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2050 la.</a:t>
            </a:r>
          </a:p>
        </p:txBody>
      </p:sp>
      <p:pic>
        <p:nvPicPr>
          <p:cNvPr id="4" name="Picture 3" descr="Meeting of metro mayors">
            <a:extLst>
              <a:ext uri="{FF2B5EF4-FFF2-40B4-BE49-F238E27FC236}">
                <a16:creationId xmlns:a16="http://schemas.microsoft.com/office/drawing/2014/main" id="{82CC64F2-5936-D499-C8C7-9411BB4F997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3776" y="2229307"/>
            <a:ext cx="4692636" cy="2989420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6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8904145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25188" y="773486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ilding yo pwodui plis emisyon gaz ki lakoz efè tèmik (GHG) nan Cambridg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0375151-8B20-3D8C-FEBF-EF4330089F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29856" y="2084831"/>
            <a:ext cx="4238245" cy="4065037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misyon gaz bilding yo soti nan itilizasyon gaz fosil (gaz, lwil, elatriye) ak nan itilizasyon elektrisite.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Elektrisite ap vin pi pwòp chak ane e yo espere l ap pifò renouvlab disi 2030.</a:t>
            </a:r>
          </a:p>
        </p:txBody>
      </p:sp>
      <p:graphicFrame>
        <p:nvGraphicFramePr>
          <p:cNvPr id="3" name="Chart 2" descr="83% of GHG emissions in Cambridge come from buildings&#10;">
            <a:extLst>
              <a:ext uri="{FF2B5EF4-FFF2-40B4-BE49-F238E27FC236}">
                <a16:creationId xmlns:a16="http://schemas.microsoft.com/office/drawing/2014/main" id="{4D729383-A3E2-ABBC-94AE-375541A950E8}"/>
              </a:ext>
            </a:extLst>
          </p:cNvPr>
          <p:cNvGraphicFramePr/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089088"/>
              </p:ext>
            </p:extLst>
          </p:nvPr>
        </p:nvGraphicFramePr>
        <p:xfrm>
          <a:off x="2124075" y="2224088"/>
          <a:ext cx="3983038" cy="366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9CAB15A-E557-E834-FDBF-E6E97286C4B5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5103728" y="5793037"/>
            <a:ext cx="1304925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rtl="0">
              <a:spcBef>
                <a:spcPct val="0"/>
              </a:spcBef>
              <a:spcAft>
                <a:spcPct val="0"/>
              </a:spcAft>
              <a:buNone/>
            </a:pPr>
            <a:r>
              <a:rPr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Bilding yo</a:t>
            </a:r>
            <a:endParaRPr lang="en-US"/>
          </a:p>
        </p:txBody>
      </p:sp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1C6C5C92-375C-84E1-8E94-D2AF9314A37B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779463" y="2371725"/>
            <a:ext cx="21193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r>
              <a:rPr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Transpò</a:t>
            </a:r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294FC7F-3055-723D-D8CB-28DFC3D1DD68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2970213" y="1914525"/>
            <a:ext cx="900113" cy="384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r" rtl="0">
              <a:spcBef>
                <a:spcPct val="0"/>
              </a:spcBef>
              <a:spcAft>
                <a:spcPct val="0"/>
              </a:spcAft>
              <a:buNone/>
            </a:pPr>
            <a:r>
              <a:rPr sz="2800" b="0" i="0" u="none" strike="noStrike">
                <a:highlight>
                  <a:srgbClr val="000000">
                    <a:alpha val="0"/>
                  </a:srgbClr>
                </a:highlight>
                <a:latin typeface="Calibri"/>
              </a:rPr>
              <a:t>Fatra</a:t>
            </a:r>
            <a:endParaRPr lang="en-US"/>
          </a:p>
        </p:txBody>
      </p:sp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7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7" name="Chart 6" descr="83% of GHG emissions in Cambridge come from buildings&#10;">
            <a:extLst>
              <a:ext uri="{FF2B5EF4-FFF2-40B4-BE49-F238E27FC236}">
                <a16:creationId xmlns:a16="http://schemas.microsoft.com/office/drawing/2014/main" id="{74F0EC28-CD9B-A93F-0EF5-FB89119FE16E}"/>
              </a:ext>
            </a:extLst>
          </p:cNvPr>
          <p:cNvGraphicFramePr/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66120440"/>
              </p:ext>
            </p:extLst>
          </p:nvPr>
        </p:nvGraphicFramePr>
        <p:xfrm>
          <a:off x="2276475" y="2376488"/>
          <a:ext cx="3983038" cy="3663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</p:spTree>
    <p:extLst>
      <p:ext uri="{BB962C8B-B14F-4D97-AF65-F5344CB8AC3E}">
        <p14:creationId xmlns:p14="http://schemas.microsoft.com/office/powerpoint/2010/main" val="1650613911"/>
      </p:ext>
    </p:extLst>
  </p:cSld>
  <p:clrMapOvr>
    <a:masterClrMapping/>
  </p:clrMapOvr>
  <p:transition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756351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32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Cambridge gen yon Plan Aksyon Zewo Nèt alontèm pou diminye emisyon gaz nan bilding y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DC0520D7-75CC-508B-69FB-965CE40BDC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12864" y="1805433"/>
            <a:ext cx="4555237" cy="4344435"/>
          </a:xfrm>
        </p:spPr>
        <p:txBody>
          <a:bodyPr>
            <a:noAutofit/>
          </a:bodyPr>
          <a:lstStyle/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lan Aksyon Zewo Nèt la te premye adopte an 2015 epi yo te mete l ajou nan kad yon pwosesis kominote a dirije an 2021.</a:t>
            </a:r>
          </a:p>
          <a:p>
            <a:pPr marL="0" indent="0">
              <a:spcBef>
                <a:spcPts val="600"/>
              </a:spcBef>
              <a:buNone/>
            </a:pPr>
            <a:endParaRPr lang="en-US">
              <a:solidFill>
                <a:schemeClr val="tx2"/>
              </a:solidFill>
              <a:latin typeface="Calibri" panose="020F0502020204030204" pitchFamily="34" charset="0"/>
            </a:endParaRPr>
          </a:p>
          <a:p>
            <a:pPr marL="0" indent="0" rtl="0">
              <a:spcBef>
                <a:spcPts val="600"/>
              </a:spcBef>
              <a:buNone/>
            </a:pP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Li idantifye règleman ak pwogram pou elimine emisyon gaz ki lakoz efè tèmik nan </a:t>
            </a:r>
            <a:r>
              <a:rPr sz="2800" b="1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bilding</a:t>
            </a:r>
            <a:r>
              <a:rPr sz="2800" b="0" i="0" u="none" strike="noStrike">
                <a:solidFill>
                  <a:srgbClr val="000000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 disi 2050.</a:t>
            </a:r>
          </a:p>
        </p:txBody>
      </p:sp>
      <p:pic>
        <p:nvPicPr>
          <p:cNvPr id="3" name="Picture 2" descr="Net Zero Action Plan">
            <a:extLst>
              <a:ext uri="{FF2B5EF4-FFF2-40B4-BE49-F238E27FC236}">
                <a16:creationId xmlns:a16="http://schemas.microsoft.com/office/drawing/2014/main" id="{FAE45911-6294-4543-5D47-8CC65D76669B}"/>
              </a:ext>
            </a:extLst>
          </p:cNvPr>
          <p:cNvPicPr>
            <a:picLocks noChangeAspect="1"/>
          </p:cNvPicPr>
          <p:nvPr/>
        </p:nvPicPr>
        <p:blipFill>
          <a:blip r:embed="rId2">
            <a:clrChange>
              <a:clrFrom>
                <a:srgbClr val="D7EAE8"/>
              </a:clrFrom>
              <a:clrTo>
                <a:srgbClr val="D7EAE8">
                  <a:alpha val="0"/>
                </a:srgbClr>
              </a:clrTo>
            </a:clrChange>
          </a:blip>
          <a:srcRect l="52362" t="18431" r="17976" b="8462"/>
          <a:stretch>
            <a:fillRect/>
          </a:stretch>
        </p:blipFill>
        <p:spPr>
          <a:xfrm>
            <a:off x="652509" y="1713820"/>
            <a:ext cx="5869604" cy="4571053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8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54884385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DFDF-B56B-4C43-BBBF-D35CEE5E47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2509" y="664739"/>
            <a:ext cx="10515600" cy="1049082"/>
          </a:xfrm>
        </p:spPr>
        <p:txBody>
          <a:bodyPr>
            <a:noAutofit/>
          </a:bodyPr>
          <a:lstStyle/>
          <a:p>
            <a:pPr rtl="0"/>
            <a:r>
              <a:rPr sz="2800" b="1" i="0" u="none" strike="noStrike">
                <a:solidFill>
                  <a:srgbClr val="1269A2"/>
                </a:solidFill>
                <a:highlight>
                  <a:srgbClr val="000000">
                    <a:alpha val="0"/>
                  </a:srgbClr>
                </a:highlight>
                <a:latin typeface="Calibri"/>
              </a:rPr>
              <a:t>Plan Aksyon Zewo Nèt la gen aksyon pou abòde emisyon gaz alafwa nan bilding ki la deja ak nouvo bilding yo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0038D609-7001-4947-92BB-A379E041416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725188" y="573126"/>
            <a:ext cx="2768252" cy="20036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800" b="0" i="0" u="none" strike="noStrike" kern="1200" cap="none" spc="0" normalizeH="0" baseline="-2500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50" name="Picture 49" descr="Net Zero Action Plan">
            <a:extLst>
              <a:ext uri="{FF2B5EF4-FFF2-40B4-BE49-F238E27FC236}">
                <a16:creationId xmlns:a16="http://schemas.microsoft.com/office/drawing/2014/main" id="{A1F8D0D6-16E7-918C-6278-B9522CE6D9E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49433" y="1679386"/>
            <a:ext cx="8693133" cy="4895331"/>
          </a:xfrm>
          <a:prstGeom prst="rect">
            <a:avLst/>
          </a:prstGeom>
        </p:spPr>
      </p:pic>
      <p:sp>
        <p:nvSpPr>
          <p:cNvPr id="8" name="Footer Placeholder 2">
            <a:extLst>
              <a:ext uri="{FF2B5EF4-FFF2-40B4-BE49-F238E27FC236}">
                <a16:creationId xmlns:a16="http://schemas.microsoft.com/office/drawing/2014/main" id="{8DE9A669-D776-4F40-B93F-5C8937EDB3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1700" y="6574717"/>
            <a:ext cx="4114800" cy="262815"/>
          </a:xfrm>
        </p:spPr>
        <p:txBody>
          <a:bodyPr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Vil Cambridge - Depatman Devlopman Kominotè</a:t>
            </a:r>
          </a:p>
        </p:txBody>
      </p:sp>
      <p:sp>
        <p:nvSpPr>
          <p:cNvPr id="9" name="Slide Number Placeholder 3">
            <a:extLst>
              <a:ext uri="{FF2B5EF4-FFF2-40B4-BE49-F238E27FC236}">
                <a16:creationId xmlns:a16="http://schemas.microsoft.com/office/drawing/2014/main" id="{BADF41E3-B302-4C05-B004-242B35D59B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324812" y="6574717"/>
            <a:ext cx="2743200" cy="262815"/>
          </a:xfrm>
        </p:spPr>
        <p:txBody>
          <a:bodyPr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sz="1100" b="0" i="0" u="none" strike="noStrike" kern="1200" cap="none" spc="0" normalizeH="0" baseline="0" noProof="0">
                <a:solidFill>
                  <a:srgbClr val="8AA1BF"/>
                </a:solidFill>
                <a:highlight>
                  <a:srgbClr val="000000">
                    <a:alpha val="0"/>
                  </a:srgbClr>
                </a:highlight>
                <a:uLnTx/>
                <a:uFillTx/>
                <a:latin typeface="Calibri"/>
                <a:ea typeface="+mn-ea"/>
                <a:cs typeface="+mn-cs"/>
              </a:rPr>
              <a:t>Jiyè 2023              9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1269A2">
                  <a:tint val="75000"/>
                </a:srgb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6447753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_NET" val="3.1.12"/>
  <p:tag name="AS_OS" val="Unix 5.4.209.116"/>
  <p:tag name="AS_RELEASE_DATE" val="2020.03.14"/>
  <p:tag name="AS_TITLE" val="Aspose.Slides for .NET Standard 2.0"/>
  <p:tag name="AS_VERSION" val="20.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IDfDwYm_EWmPJqlWV2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jmRJuAw6Nk19E6ww_xs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FzHuYJ_0K4SBjAdGrREY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VGaBuFm6pgNOl6yERq8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kIDfDwYm_EWmPJqlWV2w"/>
</p:tagLst>
</file>

<file path=ppt/theme/theme1.xml><?xml version="1.0" encoding="utf-8"?>
<a:theme xmlns:a="http://schemas.openxmlformats.org/drawingml/2006/main" name="1_Office Theme">
  <a:themeElements>
    <a:clrScheme name="Custom 8">
      <a:dk1>
        <a:srgbClr val="1269A2"/>
      </a:dk1>
      <a:lt1>
        <a:srgbClr val="FFFFFF"/>
      </a:lt1>
      <a:dk2>
        <a:srgbClr val="000000"/>
      </a:dk2>
      <a:lt2>
        <a:srgbClr val="C8D068"/>
      </a:lt2>
      <a:accent1>
        <a:srgbClr val="1269A2"/>
      </a:accent1>
      <a:accent2>
        <a:srgbClr val="C8D068"/>
      </a:accent2>
      <a:accent3>
        <a:srgbClr val="AEABAB"/>
      </a:accent3>
      <a:accent4>
        <a:srgbClr val="FFFFFF"/>
      </a:accent4>
      <a:accent5>
        <a:srgbClr val="1269A2"/>
      </a:accent5>
      <a:accent6>
        <a:srgbClr val="70AD47"/>
      </a:accent6>
      <a:hlink>
        <a:srgbClr val="0D4E79"/>
      </a:hlink>
      <a:folHlink>
        <a:srgbClr val="ED7D31"/>
      </a:folHlink>
    </a:clrScheme>
    <a:fontScheme name="Custom 1">
      <a:majorFont>
        <a:latin typeface="Calibri"/>
        <a:ea typeface="Arial"/>
        <a:cs typeface="Arial"/>
      </a:majorFont>
      <a:minorFont>
        <a:latin typeface="Calibri"/>
        <a:ea typeface="Arial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>
          <a:noFill/>
        </a:ln>
      </a:spPr>
      <a:bodyPr wrap="square" rtlCol="0" anchor="ctr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Arial"/>
        <a:cs typeface="Arial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Arial"/>
        <a:cs typeface="Arial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9222cad-37d3-4250-8101-175b76bc4737">
      <Terms xmlns="http://schemas.microsoft.com/office/infopath/2007/PartnerControls"/>
    </lcf76f155ced4ddcb4097134ff3c332f>
    <TaxCatchAll xmlns="cf4093f2-ea7e-4937-a622-b54e6f5b5c86" xsi:nil="true"/>
    <SharedWithUsers xmlns="cf4093f2-ea7e-4937-a622-b54e6f5b5c86">
      <UserInfo>
        <DisplayName/>
        <AccountId xsi:nil="true"/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759CE57B8D5A54AABA9F82446E79BC9" ma:contentTypeVersion="13" ma:contentTypeDescription="Create a new document." ma:contentTypeScope="" ma:versionID="9f27886fb41cb719309cf082aef484e1">
  <xsd:schema xmlns:xsd="http://www.w3.org/2001/XMLSchema" xmlns:xs="http://www.w3.org/2001/XMLSchema" xmlns:p="http://schemas.microsoft.com/office/2006/metadata/properties" xmlns:ns2="39222cad-37d3-4250-8101-175b76bc4737" xmlns:ns3="cf4093f2-ea7e-4937-a622-b54e6f5b5c86" targetNamespace="http://schemas.microsoft.com/office/2006/metadata/properties" ma:root="true" ma:fieldsID="ec1b29d5442133302f9b436e86050124" ns2:_="" ns3:_="">
    <xsd:import namespace="39222cad-37d3-4250-8101-175b76bc4737"/>
    <xsd:import namespace="cf4093f2-ea7e-4937-a622-b54e6f5b5c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9222cad-37d3-4250-8101-175b76bc473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3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5" nillable="true" ma:taxonomy="true" ma:internalName="lcf76f155ced4ddcb4097134ff3c332f" ma:taxonomyFieldName="MediaServiceImageTags" ma:displayName="Image Tags" ma:readOnly="false" ma:fieldId="{5cf76f15-5ced-4ddc-b409-7134ff3c332f}" ma:taxonomyMulti="true" ma:sspId="c0e9f556-afc0-44b9-a5d7-d85c3b214b2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9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0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f4093f2-ea7e-4937-a622-b54e6f5b5c86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1e34761a-d0d8-494d-98b9-bd5190a06359}" ma:internalName="TaxCatchAll" ma:showField="CatchAllData" ma:web="cf4093f2-ea7e-4937-a622-b54e6f5b5c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B10F5062-4803-4F8E-9FA4-6D6C0F2A017E}">
  <ds:schemaRefs>
    <ds:schemaRef ds:uri="39222cad-37d3-4250-8101-175b76bc4737"/>
    <ds:schemaRef ds:uri="cf4093f2-ea7e-4937-a622-b54e6f5b5c86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FE0AAA25-269B-4AC7-A93C-ABE6EE43E8D1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D5AB0FF-6216-4AAC-BE6C-20BFC8557843}">
  <ds:schemaRefs>
    <ds:schemaRef ds:uri="39222cad-37d3-4250-8101-175b76bc4737"/>
    <ds:schemaRef ds:uri="cf4093f2-ea7e-4937-a622-b54e6f5b5c86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2</TotalTime>
  <Words>2112</Words>
  <Application>Microsoft Office PowerPoint</Application>
  <PresentationFormat>Widescreen</PresentationFormat>
  <Paragraphs>247</Paragraphs>
  <Slides>28</Slides>
  <Notes>6</Notes>
  <HiddenSlides>0</HiddenSlides>
  <MMClips>0</MMClips>
  <ScaleCrop>false</ScaleCrop>
  <HeadingPairs>
    <vt:vector size="6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1" baseType="lpstr">
      <vt:lpstr>Arial</vt:lpstr>
      <vt:lpstr>Calibri</vt:lpstr>
      <vt:lpstr>1_Office Theme</vt:lpstr>
      <vt:lpstr>Pwogram Demonstrasyon Bilding San Gaz Fosil - Apèsi</vt:lpstr>
      <vt:lpstr>Byenvini</vt:lpstr>
      <vt:lpstr>Enstriksyon pou poze yon kesyon oswa fè yon kòmantè</vt:lpstr>
      <vt:lpstr>Ajanda</vt:lpstr>
      <vt:lpstr>Ajanda</vt:lpstr>
      <vt:lpstr>Cambridge te angaje l depi lontan pou poze aksyon kont chanjman klimatik</vt:lpstr>
      <vt:lpstr>Bilding yo pwodui plis emisyon gaz ki lakoz efè tèmik (GHG) nan Cambridge</vt:lpstr>
      <vt:lpstr>Cambridge gen yon Plan Aksyon Zewo Nèt alontèm pou diminye emisyon gaz nan bilding yo</vt:lpstr>
      <vt:lpstr>Plan Aksyon Zewo Nèt la gen aksyon pou abòde emisyon gaz alafwa nan bilding ki la deja ak nouvo bilding yo</vt:lpstr>
      <vt:lpstr>Plan Aksyon Zewo Nèt la gen aksyon pou adrese emisyon gaz nan bilding ki la deja ak nouvo bilding yo</vt:lpstr>
      <vt:lpstr>Massachusetts te idantifye politik ak pwogram pou atenn zewo nèt disi 2050</vt:lpstr>
      <vt:lpstr>Atenn objektif klima nou yo vle di elimine progresivman gaz fosil nan nouvo konstriksyon</vt:lpstr>
      <vt:lpstr>Olyedesa konstriktè yo gen obligasyon pou enstale sistèm ki totalman elektrik ak ekolojik  </vt:lpstr>
      <vt:lpstr>Ajanda</vt:lpstr>
      <vt:lpstr>Massachusetts te kreye yon Pwogram Demonstrasyon San Gaz Fosil</vt:lpstr>
      <vt:lpstr>Cambridge te otorize pou patisipe nan pwogram demonstrasyon Massachusetts la</vt:lpstr>
      <vt:lpstr>Ajanda</vt:lpstr>
      <vt:lpstr>Pwogram Demonstrasyon an mande pou nouvo bilding ak gwo renovasyon yo pa gen gaz fosil</vt:lpstr>
      <vt:lpstr>Pwogram Demonstrasyon San Gaz Fosil la gen yon òdonans sijere oswa "modèl".</vt:lpstr>
      <vt:lpstr>Eta a pral fè yon evalyasyon rezilta yo</vt:lpstr>
      <vt:lpstr>Ajanda</vt:lpstr>
      <vt:lpstr>Kalandiye pou Kominote Priyorite yo</vt:lpstr>
      <vt:lpstr>N ap pataje enfòmasyon sou pwogram nan ak rezidan Cambridge yo epi pwopriyetè bilding yo</vt:lpstr>
      <vt:lpstr>Nou vle fidbak ou sou fason nouvo bilding yo ak gwo renovasyon yo nan Cambridge kapab san gaz fosil</vt:lpstr>
      <vt:lpstr>Pwochen Etap pou Cambridge</vt:lpstr>
      <vt:lpstr>Kesyon ak Repons</vt:lpstr>
      <vt:lpstr>Pou Plis Enfòmasyon</vt:lpstr>
      <vt:lpstr>Mèsi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ssil Fuel Free Building Demonstration Program - Overview</dc:title>
  <dc:creator>Nikhil Nadkarni</dc:creator>
  <cp:lastModifiedBy>Rosa, Crystal</cp:lastModifiedBy>
  <cp:revision>1</cp:revision>
  <cp:lastPrinted>2023-07-07T14:04:32Z</cp:lastPrinted>
  <dcterms:created xsi:type="dcterms:W3CDTF">2023-06-05T23:56:43Z</dcterms:created>
  <dcterms:modified xsi:type="dcterms:W3CDTF">2023-07-13T21:21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ExtendedDescription">
    <vt:lpwstr/>
  </property>
  <property fmtid="{D5CDD505-2E9C-101B-9397-08002B2CF9AE}" pid="3" name="ComplianceAssetId">
    <vt:lpwstr/>
  </property>
  <property fmtid="{D5CDD505-2E9C-101B-9397-08002B2CF9AE}" pid="4" name="ContentTypeId">
    <vt:lpwstr>0x010100E759CE57B8D5A54AABA9F82446E79BC9</vt:lpwstr>
  </property>
  <property fmtid="{D5CDD505-2E9C-101B-9397-08002B2CF9AE}" pid="5" name="MediaServiceImageTags">
    <vt:lpwstr/>
  </property>
  <property fmtid="{D5CDD505-2E9C-101B-9397-08002B2CF9AE}" pid="6" name="Order">
    <vt:r8>88200</vt:r8>
  </property>
  <property fmtid="{D5CDD505-2E9C-101B-9397-08002B2CF9AE}" pid="7" name="TriggerFlowInfo">
    <vt:lpwstr/>
  </property>
</Properties>
</file>